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0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11.xml" ContentType="application/vnd.openxmlformats-officedocument.presentationml.tags+xml"/>
  <Override PartName="/ppt/notesSlides/notesSlide4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ppt/tags/tag16.xml" ContentType="application/vnd.openxmlformats-officedocument.presentationml.tag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101"/>
  </p:notesMasterIdLst>
  <p:handoutMasterIdLst>
    <p:handoutMasterId r:id="rId102"/>
  </p:handoutMasterIdLst>
  <p:sldIdLst>
    <p:sldId id="256" r:id="rId6"/>
    <p:sldId id="435" r:id="rId7"/>
    <p:sldId id="373" r:id="rId8"/>
    <p:sldId id="416" r:id="rId9"/>
    <p:sldId id="417" r:id="rId10"/>
    <p:sldId id="418" r:id="rId11"/>
    <p:sldId id="419" r:id="rId12"/>
    <p:sldId id="436" r:id="rId13"/>
    <p:sldId id="437" r:id="rId14"/>
    <p:sldId id="378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99" r:id="rId32"/>
    <p:sldId id="400" r:id="rId33"/>
    <p:sldId id="401" r:id="rId34"/>
    <p:sldId id="402" r:id="rId35"/>
    <p:sldId id="403" r:id="rId36"/>
    <p:sldId id="404" r:id="rId37"/>
    <p:sldId id="405" r:id="rId38"/>
    <p:sldId id="438" r:id="rId39"/>
    <p:sldId id="441" r:id="rId40"/>
    <p:sldId id="442" r:id="rId41"/>
    <p:sldId id="443" r:id="rId42"/>
    <p:sldId id="444" r:id="rId43"/>
    <p:sldId id="440" r:id="rId44"/>
    <p:sldId id="382" r:id="rId45"/>
    <p:sldId id="318" r:id="rId46"/>
    <p:sldId id="425" r:id="rId47"/>
    <p:sldId id="320" r:id="rId48"/>
    <p:sldId id="426" r:id="rId49"/>
    <p:sldId id="427" r:id="rId50"/>
    <p:sldId id="323" r:id="rId51"/>
    <p:sldId id="428" r:id="rId52"/>
    <p:sldId id="429" r:id="rId53"/>
    <p:sldId id="324" r:id="rId54"/>
    <p:sldId id="430" r:id="rId55"/>
    <p:sldId id="432" r:id="rId56"/>
    <p:sldId id="431" r:id="rId57"/>
    <p:sldId id="325" r:id="rId58"/>
    <p:sldId id="327" r:id="rId59"/>
    <p:sldId id="328" r:id="rId60"/>
    <p:sldId id="394" r:id="rId61"/>
    <p:sldId id="329" r:id="rId62"/>
    <p:sldId id="368" r:id="rId63"/>
    <p:sldId id="408" r:id="rId64"/>
    <p:sldId id="409" r:id="rId65"/>
    <p:sldId id="410" r:id="rId66"/>
    <p:sldId id="411" r:id="rId67"/>
    <p:sldId id="412" r:id="rId68"/>
    <p:sldId id="413" r:id="rId69"/>
    <p:sldId id="414" r:id="rId70"/>
    <p:sldId id="395" r:id="rId71"/>
    <p:sldId id="396" r:id="rId72"/>
    <p:sldId id="375" r:id="rId73"/>
    <p:sldId id="398" r:id="rId74"/>
    <p:sldId id="397" r:id="rId75"/>
    <p:sldId id="359" r:id="rId76"/>
    <p:sldId id="360" r:id="rId77"/>
    <p:sldId id="376" r:id="rId78"/>
    <p:sldId id="343" r:id="rId79"/>
    <p:sldId id="344" r:id="rId80"/>
    <p:sldId id="345" r:id="rId81"/>
    <p:sldId id="361" r:id="rId82"/>
    <p:sldId id="347" r:id="rId83"/>
    <p:sldId id="348" r:id="rId84"/>
    <p:sldId id="362" r:id="rId85"/>
    <p:sldId id="352" r:id="rId86"/>
    <p:sldId id="353" r:id="rId87"/>
    <p:sldId id="354" r:id="rId88"/>
    <p:sldId id="363" r:id="rId89"/>
    <p:sldId id="364" r:id="rId90"/>
    <p:sldId id="377" r:id="rId91"/>
    <p:sldId id="350" r:id="rId92"/>
    <p:sldId id="355" r:id="rId93"/>
    <p:sldId id="349" r:id="rId94"/>
    <p:sldId id="357" r:id="rId95"/>
    <p:sldId id="358" r:id="rId96"/>
    <p:sldId id="406" r:id="rId97"/>
    <p:sldId id="407" r:id="rId98"/>
    <p:sldId id="434" r:id="rId99"/>
    <p:sldId id="299" r:id="rId100"/>
  </p:sldIdLst>
  <p:sldSz cx="9144000" cy="6858000" type="screen4x3"/>
  <p:notesSz cx="7104063" cy="10234613"/>
  <p:custDataLst>
    <p:tags r:id="rId10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BC401B54-5205-4860-ABB0-A3768C957CB2}">
          <p14:sldIdLst>
            <p14:sldId id="256"/>
            <p14:sldId id="435"/>
          </p14:sldIdLst>
        </p14:section>
        <p14:section name="Sense and Avoidn Introduction" id="{08EAB863-3274-4A45-959D-921E349EF66A}">
          <p14:sldIdLst>
            <p14:sldId id="373"/>
            <p14:sldId id="416"/>
            <p14:sldId id="417"/>
            <p14:sldId id="418"/>
            <p14:sldId id="419"/>
            <p14:sldId id="436"/>
            <p14:sldId id="437"/>
          </p14:sldIdLst>
        </p14:section>
        <p14:section name="Problems in Detect &amp; Avoid" id="{AF5D083F-77F7-4B80-B4F8-B5626CABF80F}">
          <p14:sldIdLst>
            <p14:sldId id="378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311"/>
            <p14:sldId id="312"/>
            <p14:sldId id="313"/>
            <p14:sldId id="314"/>
            <p14:sldId id="315"/>
            <p14:sldId id="316"/>
            <p14:sldId id="399"/>
            <p14:sldId id="400"/>
            <p14:sldId id="401"/>
            <p14:sldId id="402"/>
            <p14:sldId id="403"/>
            <p14:sldId id="404"/>
            <p14:sldId id="405"/>
          </p14:sldIdLst>
        </p14:section>
        <p14:section name="Related Work" id="{1B3B5AF1-5E8E-4E2B-BDA9-B4D1DEC66B23}">
          <p14:sldIdLst>
            <p14:sldId id="438"/>
            <p14:sldId id="441"/>
            <p14:sldId id="442"/>
            <p14:sldId id="443"/>
            <p14:sldId id="444"/>
          </p14:sldIdLst>
        </p14:section>
        <p14:section name="Proposed Framework" id="{7F0646CA-95F0-4B39-B953-FD116B494026}">
          <p14:sldIdLst>
            <p14:sldId id="440"/>
            <p14:sldId id="382"/>
            <p14:sldId id="318"/>
            <p14:sldId id="425"/>
            <p14:sldId id="320"/>
            <p14:sldId id="426"/>
            <p14:sldId id="427"/>
            <p14:sldId id="323"/>
            <p14:sldId id="428"/>
            <p14:sldId id="429"/>
            <p14:sldId id="324"/>
            <p14:sldId id="430"/>
            <p14:sldId id="432"/>
            <p14:sldId id="431"/>
            <p14:sldId id="325"/>
            <p14:sldId id="327"/>
            <p14:sldId id="328"/>
            <p14:sldId id="394"/>
            <p14:sldId id="329"/>
            <p14:sldId id="368"/>
            <p14:sldId id="408"/>
            <p14:sldId id="409"/>
            <p14:sldId id="410"/>
            <p14:sldId id="411"/>
            <p14:sldId id="412"/>
            <p14:sldId id="413"/>
            <p14:sldId id="414"/>
            <p14:sldId id="395"/>
            <p14:sldId id="396"/>
          </p14:sldIdLst>
        </p14:section>
        <p14:section name="Simulations" id="{14EC53E0-150C-4069-A966-E3D1C262D6B6}">
          <p14:sldIdLst>
            <p14:sldId id="375"/>
            <p14:sldId id="398"/>
            <p14:sldId id="397"/>
            <p14:sldId id="359"/>
            <p14:sldId id="360"/>
            <p14:sldId id="376"/>
            <p14:sldId id="343"/>
            <p14:sldId id="344"/>
            <p14:sldId id="345"/>
            <p14:sldId id="361"/>
            <p14:sldId id="347"/>
            <p14:sldId id="348"/>
            <p14:sldId id="362"/>
            <p14:sldId id="352"/>
            <p14:sldId id="353"/>
            <p14:sldId id="354"/>
            <p14:sldId id="363"/>
            <p14:sldId id="364"/>
            <p14:sldId id="377"/>
            <p14:sldId id="350"/>
            <p14:sldId id="355"/>
            <p14:sldId id="349"/>
            <p14:sldId id="357"/>
            <p14:sldId id="358"/>
          </p14:sldIdLst>
        </p14:section>
        <p14:section name="Results" id="{07ABCF22-AF44-46E3-B02C-FBB4CB513E70}">
          <p14:sldIdLst>
            <p14:sldId id="406"/>
            <p14:sldId id="407"/>
            <p14:sldId id="434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64540" autoAdjust="0"/>
  </p:normalViewPr>
  <p:slideViewPr>
    <p:cSldViewPr snapToGrid="0" snapToObjects="1">
      <p:cViewPr>
        <p:scale>
          <a:sx n="66" d="100"/>
          <a:sy n="66" d="100"/>
        </p:scale>
        <p:origin x="468" y="18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117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068A2-0234-47FD-BE08-69A5E51064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ar (Lady, and Gentlemen), my name is Alojz Gomola and for today I am going to defend thesis with titl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“Obstacle avoidance based on Reach Sets”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ich was lead b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Joao Sousa from LSTS, an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 Fernando Lobo Pereira from FEUP,  	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10D3183-1F9B-45DE-A220-2E5480AFC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9BFB8CA2-1585-41BA-BB69-DBC364631FD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5" name="Header Placeholder 5">
            <a:extLst>
              <a:ext uri="{FF2B5EF4-FFF2-40B4-BE49-F238E27FC236}">
                <a16:creationId xmlns:a16="http://schemas.microsoft.com/office/drawing/2014/main" id="{276DDB08-8302-4D93-9D24-6A9DC27B97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949E8CA3-C0A8-4864-BE53-ECB126051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3C66952-E0A1-4F60-A4B8-63AD961E7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8A074E3-1303-4514-8DFE-81698FB03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Now lets define the problem which is going to be solv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98C5A62-C947-4AFA-BC85-F22CBBAC1A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C94EE6F-20C4-48C8-AF5E-F13F0C5ED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A7B876C1-85EF-48D4-B76D-9748ADFAC6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81EDC40-B7EA-4F1E-9B49-2B783DD62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0C5CBB3-80A5-4CFF-9DC2-F53C3879C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E04F701-FB50-40B7-8EAC-9861EC93A0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obstacle avoidance can be taken as a “trip to a pub”,</a:t>
            </a:r>
          </a:p>
          <a:p>
            <a:pPr lvl="0"/>
            <a:r>
              <a:rPr lang="en-US" dirty="0"/>
              <a:t>Lets help this gentleman get into the fin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15FBB36-84C8-4861-9D71-46FCD9B4970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979CC8-B538-4431-8F65-B7791A8A65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7C8037E-3C1E-4BF3-8957-B758526FC1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4450718-C69E-41BE-9932-44C5C54461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88E762F3-4881-408F-A3E5-E8AEBE9657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CAE4D7C-A571-4B81-9E3B-EE6609B81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have a simple mission get from the home (red),</a:t>
            </a:r>
          </a:p>
          <a:p>
            <a:pPr lvl="0"/>
            <a:r>
              <a:rPr lang="en-US" dirty="0"/>
              <a:t>To the “Fine restaurant” (blue)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B9E9B8C4-883D-4087-B5F8-80FD69B492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A7485628-00E8-43C1-8471-FA40C7CEEC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0414CF55-641A-47A8-B676-F94F81553E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33719164-B8AA-4213-97C5-BDEE3340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34A1D389-2486-4E7D-9932-3C896FE5E2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22" name="Notes Placeholder 21">
            <a:extLst>
              <a:ext uri="{FF2B5EF4-FFF2-40B4-BE49-F238E27FC236}">
                <a16:creationId xmlns:a16="http://schemas.microsoft.com/office/drawing/2014/main" id="{ACBF6FE0-B2FC-4909-B860-31F8B5C36F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irst is “Path planning problem”, we know everything,</a:t>
            </a:r>
          </a:p>
          <a:p>
            <a:pPr lvl="0"/>
            <a:r>
              <a:rPr lang="en-US" dirty="0"/>
              <a:t>We just need stick to the pla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87B2188-D76C-4325-9A27-662C89711F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4" name="Header Placeholder 5">
            <a:extLst>
              <a:ext uri="{FF2B5EF4-FFF2-40B4-BE49-F238E27FC236}">
                <a16:creationId xmlns:a16="http://schemas.microsoft.com/office/drawing/2014/main" id="{011996F9-CB5E-4600-926C-918C2A27B5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5" name="Footer Placeholder 9">
            <a:extLst>
              <a:ext uri="{FF2B5EF4-FFF2-40B4-BE49-F238E27FC236}">
                <a16:creationId xmlns:a16="http://schemas.microsoft.com/office/drawing/2014/main" id="{17A17CCD-3BE9-4D0D-B946-02AC8D06EB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6" name="Slide Number Placeholder 11">
            <a:extLst>
              <a:ext uri="{FF2B5EF4-FFF2-40B4-BE49-F238E27FC236}">
                <a16:creationId xmlns:a16="http://schemas.microsoft.com/office/drawing/2014/main" id="{0E6B71AB-00F8-479B-B8BA-9FC4CA5E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C184FD6-4981-47C7-9C76-126A5C3812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B9D57F9C-C19D-445A-9693-4C3C5EB18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have forgotten my map at home, I need to use my eyes,</a:t>
            </a:r>
          </a:p>
          <a:p>
            <a:pPr lvl="0"/>
            <a:r>
              <a:rPr lang="en-US" dirty="0"/>
              <a:t>“Sensor system” to scan some surroundings,</a:t>
            </a:r>
          </a:p>
          <a:p>
            <a:pPr lvl="0"/>
            <a:r>
              <a:rPr lang="en-US" dirty="0"/>
              <a:t>I am forced to do “Continuous decision making” and adapt.</a:t>
            </a:r>
          </a:p>
          <a:p>
            <a:pPr lvl="0"/>
            <a:r>
              <a:rPr lang="en-US" dirty="0"/>
              <a:t>I am limited by my field of the vision (black box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  <a:fld id="{16F46199-CAFB-437E-8898-9B3F1AF3B20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4AF81E3-A413-4BB1-96C1-02D9BB96A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BA01153-A7AD-440B-8C25-6343C022E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Because I am lazy I am changing my path only on </a:t>
            </a:r>
          </a:p>
          <a:p>
            <a:pPr lvl="0"/>
            <a:r>
              <a:rPr lang="en-US" dirty="0"/>
              <a:t>“Decision points” (red circle),</a:t>
            </a:r>
          </a:p>
          <a:p>
            <a:pPr lvl="0"/>
            <a:r>
              <a:rPr lang="en-US" dirty="0"/>
              <a:t>I look around and I see three possible way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/>
        </p:nvSpPr>
        <p:spPr>
          <a:xfrm>
            <a:off x="4025107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/>
        </p:nvSpPr>
        <p:spPr>
          <a:xfrm>
            <a:off x="794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/>
        </p:nvSpPr>
        <p:spPr>
          <a:xfrm>
            <a:off x="794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/>
        </p:nvSpPr>
        <p:spPr>
          <a:xfrm>
            <a:off x="4025107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DDD558E2-5ADC-4932-B3D8-B8882A152A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44F8435E-7FF7-4A5E-B656-DD194C828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he most promising path according to</a:t>
            </a:r>
          </a:p>
          <a:p>
            <a:pPr lvl="0"/>
            <a:r>
              <a:rPr lang="en-US" dirty="0"/>
              <a:t>“Cost function”, </a:t>
            </a:r>
          </a:p>
          <a:p>
            <a:pPr lvl="0"/>
            <a:r>
              <a:rPr lang="en-US" dirty="0"/>
              <a:t>I will continue along the way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DA8476B4-0FA8-476C-A8A6-ADA0D5220D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29A33C9A-197F-4ADF-8094-63E4F2484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E73FA0C-178B-4A97-AD30-C1F61C7831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2497DDD9-C930-4C2A-B744-D8C2D297D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0CC1283-C514-45DA-8EC3-49CD41D50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8B96D25-CE40-4B86-8A50-A3E0A116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reached the next decision point,</a:t>
            </a:r>
          </a:p>
          <a:p>
            <a:pPr lvl="0"/>
            <a:r>
              <a:rPr lang="en-US" dirty="0"/>
              <a:t>I look around and I see three possible way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0BD524F-A67B-4E3D-97A2-59DB437E6E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00FF6D-53A3-4A16-8DDE-AF1FC94B60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FF42494-59A4-4BD4-9A04-217D40157C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425DFD9-E598-4A64-AD19-8EB21DB8E2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A1EFFEF-9F54-4FDC-8E71-52DBB40CA6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510E535-F015-4928-B359-DF65B7A20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 choose to go down to my “cost function”,</a:t>
            </a:r>
          </a:p>
          <a:p>
            <a:pPr lvl="0"/>
            <a:r>
              <a:rPr lang="en-US" dirty="0"/>
              <a:t>I do next “sensor scan”, </a:t>
            </a:r>
          </a:p>
          <a:p>
            <a:pPr lvl="0"/>
            <a:r>
              <a:rPr lang="en-US" dirty="0"/>
              <a:t>I can see the restaurant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E4ED099-9EAD-4E77-A9F2-2E905FA4FA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9FD85124-F3A5-493F-A16D-DC9D748C5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77D8C03-F6D0-4A19-AC6F-B80624F1EB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958A9A07-C9AB-4D24-9E7C-B1DDC1082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D000543-786D-4E89-910F-C6932040C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6BCE63F-3361-4035-9C8A-B7200FF9C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Evolving world” leads to “semi-optimal” problem solution,</a:t>
            </a:r>
          </a:p>
          <a:p>
            <a:pPr lvl="0"/>
            <a:r>
              <a:rPr lang="en-US" dirty="0"/>
              <a:t>Where the path between “decisions points” is “optimal”,</a:t>
            </a:r>
          </a:p>
          <a:p>
            <a:pPr lvl="0"/>
            <a:r>
              <a:rPr lang="en-US" dirty="0"/>
              <a:t>According to the “cost function”</a:t>
            </a:r>
          </a:p>
          <a:p>
            <a:pPr lvl="0"/>
            <a:r>
              <a:rPr lang="en-US" dirty="0"/>
              <a:t>This is getting closer to real world navigation where we are limited by our “field of vision”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28F2854-BCEE-470C-B145-D77C1A6119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91DFEFA-E58D-4F5E-81C6-69CF8966B5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0ADC8BA-AB03-44B6-B2D4-75F4C74936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BCE1B339-08ED-42B4-8049-7F2326E80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039161B-0309-4E91-ADD3-2E194BF81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78352AD-A070-4ADD-9C6F-A44D58CBC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me start with short overview,</a:t>
            </a:r>
          </a:p>
          <a:p>
            <a:pPr lvl="0"/>
            <a:r>
              <a:rPr lang="en-US" dirty="0"/>
              <a:t>First there will be an introduction into Detect and Avoid,</a:t>
            </a:r>
          </a:p>
          <a:p>
            <a:pPr lvl="0"/>
            <a:r>
              <a:rPr lang="en-US" dirty="0"/>
              <a:t>Then I will outline problems which we approached,</a:t>
            </a:r>
          </a:p>
          <a:p>
            <a:pPr lvl="0"/>
            <a:r>
              <a:rPr lang="en-US" dirty="0"/>
              <a:t>The brief introduction of “Related work and used concepts”</a:t>
            </a:r>
          </a:p>
          <a:p>
            <a:pPr lvl="0"/>
            <a:r>
              <a:rPr lang="en-US" dirty="0"/>
              <a:t>Is necessary before we go trough “Proposed framework”</a:t>
            </a:r>
          </a:p>
          <a:p>
            <a:pPr lvl="0"/>
            <a:r>
              <a:rPr lang="en-US" dirty="0"/>
              <a:t>After that the test cases and performance will be show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757D3F7A-9410-4623-888D-EE53CE336E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B4202584-17A8-45E5-978D-A311E27B31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72FDA672-1D4C-4FC6-9E47-C365BEC28F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D206B4EF-FAB6-4E72-A192-62D5169C8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357D26C-FDE3-4F3F-AFD6-3A5AB2C3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49C40DA-2D2D-485B-A8B8-2900F4C293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are others around us, lets call them “intruders”,</a:t>
            </a:r>
          </a:p>
          <a:p>
            <a:pPr lvl="0"/>
            <a:r>
              <a:rPr lang="en-US" dirty="0"/>
              <a:t>They are moving, they can harm us, but don’t want to,</a:t>
            </a:r>
          </a:p>
          <a:p>
            <a:pPr lvl="0"/>
            <a:r>
              <a:rPr lang="en-US" dirty="0"/>
              <a:t>We know their position, heading and body mass,</a:t>
            </a:r>
          </a:p>
          <a:p>
            <a:pPr lvl="0"/>
            <a:r>
              <a:rPr lang="en-US" dirty="0"/>
              <a:t>For sure, we want to avoid the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811051D-9D84-482E-9A42-2BC0F48703D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D39CA8C-DFA5-4452-99D5-FC332C801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DB9B4852-523D-41B9-88AD-5A726F2B6A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8CB430E-74A0-4087-8164-22C10865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34A4E24-9A3B-46F5-89B5-251483317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4F74602-89CD-4BCA-9EA7-19EE6790A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You have contraindicating data,</a:t>
            </a:r>
          </a:p>
          <a:p>
            <a:pPr lvl="0"/>
            <a:r>
              <a:rPr lang="en-US" dirty="0"/>
              <a:t>The map is outdated, the pub was moved,</a:t>
            </a:r>
          </a:p>
          <a:p>
            <a:pPr lvl="0"/>
            <a:r>
              <a:rPr lang="en-US" dirty="0"/>
              <a:t>You need to determine what is the true,</a:t>
            </a:r>
          </a:p>
          <a:p>
            <a:pPr lvl="0"/>
            <a:r>
              <a:rPr lang="en-US" dirty="0"/>
              <a:t>You need to fuse data in 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B4929BD-75F2-464A-913B-F429B033D01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49B5198F-2DAA-4401-AB6F-1E0080393E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97477CA-10C8-4D8B-B3C6-7546682B63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0B850DF0-68AF-41F9-9F78-EC4161C4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1D64764-4F93-481F-9A11-5680055E8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DDE8A681-6636-4704-A604-2A014D3CF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hen we managed to avoid intruders, the problem is,</a:t>
            </a:r>
          </a:p>
          <a:p>
            <a:pPr lvl="0"/>
            <a:r>
              <a:rPr lang="en-US" dirty="0"/>
              <a:t>Still standing folk, or “static restrictions”,</a:t>
            </a:r>
          </a:p>
          <a:p>
            <a:pPr lvl="0"/>
            <a:r>
              <a:rPr lang="en-US" dirty="0"/>
              <a:t>There are vigilantes they will fine you,</a:t>
            </a:r>
          </a:p>
          <a:p>
            <a:pPr lvl="0"/>
            <a:r>
              <a:rPr lang="en-US" dirty="0"/>
              <a:t>They are considered “hard constraints”,</a:t>
            </a:r>
          </a:p>
          <a:p>
            <a:pPr lvl="0"/>
            <a:r>
              <a:rPr lang="en-US" dirty="0"/>
              <a:t>There are grannies who are just going to tell on you,</a:t>
            </a:r>
          </a:p>
          <a:p>
            <a:pPr lvl="0"/>
            <a:r>
              <a:rPr lang="en-US" dirty="0"/>
              <a:t>They are considered “soft constraints”,</a:t>
            </a:r>
          </a:p>
          <a:p>
            <a:pPr lvl="0"/>
            <a:r>
              <a:rPr lang="en-US" dirty="0"/>
              <a:t>The parallel are the airspace restrictions,	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77A1ED-5D22-44D9-B8BB-F338B60646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EFB289A-971D-4CEA-9A01-DDF32C80CA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830E8ABA-BDBC-4C67-8CD8-D5EC4A4819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1B01338-C2E2-49E5-9816-C9208AB64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2040AB0-9202-47CC-BC60-4E0B4594A8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F99346-B8F3-4A91-8157-2D1E1433FB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ry to avoid “static restrictions”, take long detour (red line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path is semi-optimal (continuous-decision making) with given restriction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5D95215-1022-4D00-BFB1-9967CA15A2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237EF3B-7D03-46CC-9536-56FD29A09F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078C3D3-F752-498E-B170-522B4488A0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56DD049-5C73-47EE-BB26-311B070FA1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E835828-23CA-4D50-8167-899B6FD54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8109AC8D-F4BA-491C-8D9D-749A14BA5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We try to avoid hash weather conditions, which acts like:</a:t>
            </a:r>
          </a:p>
          <a:p>
            <a:pPr lvl="0"/>
            <a:r>
              <a:rPr lang="en-US" dirty="0"/>
              <a:t>1. “Moving constraint”, or,</a:t>
            </a:r>
          </a:p>
          <a:p>
            <a:pPr lvl="0"/>
            <a:r>
              <a:rPr lang="en-US" dirty="0"/>
              <a:t>2. “Static constraint”,</a:t>
            </a:r>
          </a:p>
          <a:p>
            <a:pPr lvl="0"/>
            <a:r>
              <a:rPr lang="en-US" dirty="0"/>
              <a:t>Some prioritization needs to be implemented in our,</a:t>
            </a:r>
          </a:p>
          <a:p>
            <a:pPr lvl="0"/>
            <a:r>
              <a:rPr lang="en-US" dirty="0"/>
              <a:t>“Data fusion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4744F3A-06BD-46F3-9605-31B956D3624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C83849E-EAB3-4495-AF76-71042AC2B9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198143C4-76FA-4FE1-8348-E78B54A3A2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C5AB441-0DDF-40A4-9406-58734FBDC7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2FE0F080-FDAE-4F2C-B401-26944A20D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657AFE5C-4510-45BB-B374-FDF511657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prioritization of “constraints” is like follow:</a:t>
            </a:r>
          </a:p>
          <a:p>
            <a:pPr lvl="0"/>
            <a:r>
              <a:rPr lang="en-US" dirty="0"/>
              <a:t>Rather get yelled by granny than catching a cold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The red path is crossing grannies territory, breaking “soft static constraint”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0226876-ECA8-48B3-A5AA-F643145C72B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E69C11F3-D9DE-471A-A769-CC7D5D8000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3BD285B-5C68-4CE5-A575-03B6E8E0DC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F3764A59-AFB2-4765-9028-42114B8C6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1D00E0D0-EA81-46B1-86DE-818517D27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46195897-C297-4666-B89F-74A79BDB6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It is necessary to obey the authority, in traffic, society, </a:t>
            </a:r>
          </a:p>
          <a:p>
            <a:pPr lvl="0"/>
            <a:r>
              <a:rPr lang="en-US" dirty="0"/>
              <a:t>Especially in “Airspace”,</a:t>
            </a:r>
          </a:p>
          <a:p>
            <a:pPr lvl="0"/>
            <a:r>
              <a:rPr lang="en-US" dirty="0"/>
              <a:t>The different airspaces implements different rules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2490E4E0-DD19-4F19-9B9D-63D92F7510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9839094-57FC-4A65-841B-B0C349D76E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FAEF974-B43E-483D-A649-BCEE23C6E1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37390D59-8DB7-4FC5-9AA7-AE76F6149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5F9C134B-D4A4-4875-B018-E18C61BCC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D1DB2C7D-5AA8-41C4-A42A-580D2DEDD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say that UAS classifies for every time operational 3D space into four categories:</a:t>
            </a:r>
          </a:p>
          <a:p>
            <a:pPr lvl="0"/>
            <a:r>
              <a:rPr lang="en-US" dirty="0"/>
              <a:t>1. Free -where it can move</a:t>
            </a:r>
          </a:p>
          <a:p>
            <a:pPr lvl="0"/>
            <a:r>
              <a:rPr lang="en-US" dirty="0"/>
              <a:t>2. Occupied – where crash happens,</a:t>
            </a:r>
          </a:p>
          <a:p>
            <a:pPr lvl="0"/>
            <a:r>
              <a:rPr lang="en-US" dirty="0"/>
              <a:t>3. Uncertain – out of our knowledge</a:t>
            </a:r>
          </a:p>
          <a:p>
            <a:pPr lvl="0"/>
            <a:r>
              <a:rPr lang="en-US" dirty="0"/>
              <a:t>4. Restricted – other threat,</a:t>
            </a:r>
          </a:p>
          <a:p>
            <a:pPr lvl="0"/>
            <a:r>
              <a:rPr lang="en-US" dirty="0"/>
              <a:t>The space classification (4.10) is result of “Data fusion” (4.19)</a:t>
            </a:r>
          </a:p>
          <a:p>
            <a:r>
              <a:rPr lang="en-US" b="1" dirty="0"/>
              <a:t>Note:</a:t>
            </a:r>
            <a:endParaRPr lang="en-US" dirty="0"/>
          </a:p>
          <a:p>
            <a:r>
              <a:rPr lang="en-US" dirty="0"/>
              <a:t>	The data fusion will be discussed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4ACE779-7331-4F69-8F38-89A6C73C62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A76F5563-75E6-4EA6-AD8D-894E719F1C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2677EC41-3C22-47AB-8425-1F8C97877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F314C25C-574F-4E3D-A095-EAC4A5BF27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536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D120D20B-5831-484E-9731-6908B9AE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AC43987A-79E7-4AA8-B247-AA849404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 UAS is flying a mission given as a set of ordered waypoints (4.6),</a:t>
            </a:r>
          </a:p>
          <a:p>
            <a:pPr lvl="0"/>
            <a:r>
              <a:rPr lang="en-US" sz="1400" dirty="0"/>
              <a:t>The goal is to keep the distance to any occupied space greater than some margin (4.21),</a:t>
            </a:r>
          </a:p>
          <a:p>
            <a:pPr lvl="0"/>
            <a:r>
              <a:rPr lang="en-US" sz="1400" dirty="0"/>
              <a:t>Under following assumption:</a:t>
            </a:r>
          </a:p>
          <a:p>
            <a:pPr lvl="0"/>
            <a:r>
              <a:rPr lang="en-US" sz="1400" dirty="0"/>
              <a:t>1. Sensor readings are clear,</a:t>
            </a:r>
          </a:p>
          <a:p>
            <a:pPr lvl="0"/>
            <a:r>
              <a:rPr lang="en-US" sz="1400" dirty="0"/>
              <a:t>2. There are no intruder for now,</a:t>
            </a:r>
          </a:p>
          <a:p>
            <a:pPr lvl="0"/>
            <a:r>
              <a:rPr lang="en-US" sz="1400" dirty="0"/>
              <a:t>3. The airspace is unrestricted,</a:t>
            </a:r>
          </a:p>
          <a:p>
            <a:pPr lvl="0"/>
            <a:r>
              <a:rPr lang="en-US" sz="1400" dirty="0"/>
              <a:t>4. The waypoints are reachable,</a:t>
            </a:r>
          </a:p>
          <a:p>
            <a:pPr lvl="0"/>
            <a:r>
              <a:rPr lang="en-US" sz="1400" dirty="0"/>
              <a:t>5. UAS constant speed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r>
              <a:rPr lang="en-US" sz="1400" b="1" dirty="0"/>
              <a:t>	</a:t>
            </a:r>
            <a:r>
              <a:rPr lang="en-US" sz="1400" dirty="0"/>
              <a:t>Some assumptions are relaxed over time,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73BD036-39CB-4C65-8CB8-688B48B85A2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E6C1F29-809F-47EB-9E36-3D2CFA243E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3A8BC73-99E9-4359-8B9F-DA09BAB51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CF059C8-CF2B-45E3-9CF0-46B8D784F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466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8A44025-34DE-4882-AEE0-71ECA1FEBB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9B349E9-A00D-4920-AFAF-79C6CCF4D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“Basic avoidance problem” is like follow:</a:t>
            </a:r>
          </a:p>
          <a:p>
            <a:pPr lvl="0"/>
            <a:r>
              <a:rPr lang="en-US" dirty="0"/>
              <a:t>1.UAS is equipped with LiDAR sensor, </a:t>
            </a:r>
            <a:r>
              <a:rPr lang="en-US" dirty="0" err="1"/>
              <a:t>flyes</a:t>
            </a:r>
            <a:r>
              <a:rPr lang="en-US" dirty="0"/>
              <a:t> over open space with static obstacles only,</a:t>
            </a:r>
          </a:p>
          <a:p>
            <a:pPr lvl="0"/>
            <a:r>
              <a:rPr lang="en-US" dirty="0"/>
              <a:t>2.The “Restricted space” is out of question,</a:t>
            </a:r>
          </a:p>
          <a:p>
            <a:pPr lvl="0"/>
            <a:r>
              <a:rPr lang="en-US" dirty="0"/>
              <a:t>3.There is only “vehicle dynamic constraints”</a:t>
            </a:r>
          </a:p>
          <a:p>
            <a:pPr lvl="0"/>
            <a:r>
              <a:rPr lang="en-US" dirty="0"/>
              <a:t>The following needs to be established:</a:t>
            </a:r>
          </a:p>
          <a:p>
            <a:pPr lvl="0"/>
            <a:r>
              <a:rPr lang="en-US" dirty="0"/>
              <a:t>1. Avoidance loop – for immediate decisions (6.6.2)</a:t>
            </a:r>
          </a:p>
          <a:p>
            <a:pPr lvl="0"/>
            <a:r>
              <a:rPr lang="en-US" dirty="0"/>
              <a:t>2. Navigation loop -  for decision point management (6.6.1)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207008F-F0CD-4B7C-A3B9-E7E2D1EC5B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684F9A7-600C-428D-A249-D640C98E3B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75A35C4-29C6-4A8B-A638-0835B1D21E8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3742E5-B790-4759-818D-445CD4F32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08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D9E3ED2-63CE-4782-9CB6-F389C4890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58DA4527-B248-4556-8CCF-BA9B5294D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ain goal of the thesis was to develop a framework, </a:t>
            </a:r>
          </a:p>
          <a:p>
            <a:pPr lvl="0"/>
            <a:r>
              <a:rPr lang="en-US" dirty="0"/>
              <a:t>Which is capable to fly in “non-segregated airspace”,</a:t>
            </a:r>
          </a:p>
          <a:p>
            <a:pPr lvl="0"/>
            <a:r>
              <a:rPr lang="en-US" dirty="0"/>
              <a:t>Lets start with short introduction</a:t>
            </a:r>
          </a:p>
          <a:p>
            <a:r>
              <a:rPr lang="en-US" b="1" dirty="0"/>
              <a:t>Note: </a:t>
            </a:r>
            <a:r>
              <a:rPr lang="en-US" dirty="0"/>
              <a:t> All Airspace related rules and constraints can be found in chapter 2. This section is only a short introduction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032DDD-A0AB-4ABC-931E-F2F363C8276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55E89D1-DF39-4F3C-9353-C9C9B5710B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15E5804-58B1-4853-A723-8412CBEF837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2CDD4E2F-4169-4769-8AA3-3AE1D4C868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0A8731B-0120-4747-912B-95251AA4B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B99DEE-56E2-4F27-90BA-344777859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et us introduce intruders, </a:t>
            </a:r>
          </a:p>
          <a:p>
            <a:pPr lvl="0"/>
            <a:r>
              <a:rPr lang="en-US" dirty="0"/>
              <a:t>1. We read their position over ADS-B broadcast,</a:t>
            </a:r>
          </a:p>
          <a:p>
            <a:pPr lvl="0"/>
            <a:r>
              <a:rPr lang="en-US" dirty="0"/>
              <a:t>2. The “Sensor fusion” needs to fuse two sensors,</a:t>
            </a:r>
          </a:p>
          <a:p>
            <a:pPr lvl="0"/>
            <a:r>
              <a:rPr lang="en-US" dirty="0"/>
              <a:t>3. “Flight corridors” as added “hard constraints”,</a:t>
            </a:r>
          </a:p>
          <a:p>
            <a:pPr lvl="0"/>
            <a:r>
              <a:rPr lang="en-US" dirty="0"/>
              <a:t>Problems to be addressed:</a:t>
            </a:r>
          </a:p>
          <a:p>
            <a:pPr lvl="0"/>
            <a:r>
              <a:rPr lang="en-US" dirty="0"/>
              <a:t>1. How to model “intruder intersection” in “operational space”, </a:t>
            </a:r>
          </a:p>
          <a:p>
            <a:pPr lvl="0"/>
            <a:r>
              <a:rPr lang="en-US" dirty="0"/>
              <a:t>2. including future “corridors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FD88A3C-8A4B-42D3-8A31-0AB696348B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A837490-F379-46F8-AE3B-37BFCA4928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0A7D220-D464-4CA8-AE96-405550945D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77124F-8790-4817-9429-A5CD3E23F9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672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FBA0C14-D5D0-428A-BEB2-0215D24D7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A941866-9069-4678-9039-7C1B6F394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Let us add “static constraints” and restrictions, originating from:</a:t>
            </a:r>
          </a:p>
          <a:p>
            <a:pPr lvl="0"/>
            <a:r>
              <a:rPr lang="en-US" sz="1400" dirty="0"/>
              <a:t>1. Terrain Map – from our previous flights</a:t>
            </a:r>
          </a:p>
          <a:p>
            <a:pPr lvl="0"/>
            <a:r>
              <a:rPr lang="en-US" sz="1400" dirty="0"/>
              <a:t>2. Obstacle Map – from future UTM,</a:t>
            </a:r>
          </a:p>
          <a:p>
            <a:pPr lvl="0"/>
            <a:r>
              <a:rPr lang="en-US" sz="1400" dirty="0"/>
              <a:t>3. Flight restrictions – from airspace authority,</a:t>
            </a:r>
          </a:p>
          <a:p>
            <a:pPr lvl="0"/>
            <a:r>
              <a:rPr lang="en-US" sz="1400" dirty="0"/>
              <a:t>The data fusion now needs to handle prioritization,</a:t>
            </a:r>
          </a:p>
          <a:p>
            <a:pPr lvl="0"/>
            <a:r>
              <a:rPr lang="en-US" sz="1400" dirty="0"/>
              <a:t> Evaluate the threat potential,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Refer to the map from the introduction for “restricted airspace”. </a:t>
            </a:r>
          </a:p>
          <a:p>
            <a:pPr lvl="0"/>
            <a:r>
              <a:rPr lang="en-US" sz="1400" dirty="0"/>
              <a:t>The supplement ratings needed to be introduced, like visibility (6.13) and static constraints (6.5.3)</a:t>
            </a:r>
          </a:p>
          <a:p>
            <a:pPr lvl="0"/>
            <a:r>
              <a:rPr lang="en-US" sz="1400" dirty="0"/>
              <a:t>The final form of data fusion has been outlined (6.5.4)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3F8F89F-9D39-487B-AE1A-A5676AE00B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0C0D78FF-E1F6-48A0-9550-08B607CC51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7696E292-4F68-40A8-B59D-E71C74D5E9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3C4327A-A011-47C7-AB31-FB8C3EF24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9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856B2B1-9F31-4D9E-AC34-ED7377875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0D40AE-C8AF-4017-96CF-A9455C40C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eather compliance is necessary for controlled airspace integration, considering the average UAS size,</a:t>
            </a:r>
          </a:p>
          <a:p>
            <a:pPr lvl="0"/>
            <a:r>
              <a:rPr lang="en-US" sz="1600" dirty="0"/>
              <a:t>1. The weather consists of static phenomenon like focused storm or moving phenomenon like wind gusts,</a:t>
            </a:r>
          </a:p>
          <a:p>
            <a:pPr lvl="0"/>
            <a:r>
              <a:rPr lang="en-US" sz="1600" dirty="0"/>
              <a:t>This introduces a new type of “moving constraint” which needs to be accounted from greater range,</a:t>
            </a:r>
          </a:p>
          <a:p>
            <a:pPr lvl="0"/>
            <a:r>
              <a:rPr lang="en-US" sz="1600" dirty="0"/>
              <a:t>2. Depending on the UAS construction and future durability requirements, </a:t>
            </a:r>
          </a:p>
          <a:p>
            <a:pPr lvl="0"/>
            <a:r>
              <a:rPr lang="en-US" sz="1600" dirty="0"/>
              <a:t>Some of the weather cases may be ignored, this gives us “soft constraints”.</a:t>
            </a:r>
          </a:p>
          <a:p>
            <a:r>
              <a:rPr lang="en-US" sz="1600" b="1" dirty="0"/>
              <a:t>[Note]</a:t>
            </a:r>
            <a:endParaRPr lang="en-US" sz="1600" dirty="0"/>
          </a:p>
          <a:p>
            <a:r>
              <a:rPr lang="en-US" sz="1600" dirty="0"/>
              <a:t>Weather covers all types of constraints due its phenomena variability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092E81B-B507-4386-B886-D21BA2FFF2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35BAC93-D849-471C-80A8-56851A8386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27916F7-990B-426D-83C0-F7606D51FE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074B230-3639-4D4D-9C38-38594CE38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31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101068D-BAA9-4A8C-A3BA-DBE1D47C8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7A88A22-04ED-422C-A55A-9048755F0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final step for airspace integration is authority obedience,	</a:t>
            </a:r>
          </a:p>
          <a:p>
            <a:pPr lvl="0"/>
            <a:r>
              <a:rPr lang="en-US" dirty="0"/>
              <a:t>The avoidance and navigation mechanisms needs to adhere to “rule of the air”  dependent on “airspace contex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13AD2DF-8BC8-4A94-BBBD-8523292E24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C173098-9ECC-4DA5-9912-6737068A62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9F21080-79F3-4A0C-9DCE-86A5AC80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826DCE1-36BD-4D85-ABE5-970B8A3A3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11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provide the answer to given challenges.</a:t>
            </a:r>
          </a:p>
          <a:p>
            <a:pPr lvl="0"/>
            <a:r>
              <a:rPr lang="en-US" dirty="0"/>
              <a:t>We need a tools for:</a:t>
            </a:r>
          </a:p>
          <a:p>
            <a:pPr lvl="0"/>
            <a:r>
              <a:rPr lang="en-US" dirty="0"/>
              <a:t>1. An UAS discrete control,</a:t>
            </a:r>
          </a:p>
          <a:p>
            <a:pPr lvl="0"/>
            <a:r>
              <a:rPr lang="en-US" dirty="0"/>
              <a:t>2. Surroundings surveillance,</a:t>
            </a:r>
          </a:p>
          <a:p>
            <a:pPr lvl="0"/>
            <a:r>
              <a:rPr lang="en-US" dirty="0"/>
              <a:t>3. Short-term/Long term navigation,</a:t>
            </a:r>
          </a:p>
          <a:p>
            <a:pPr lvl="0"/>
            <a:r>
              <a:rPr lang="en-US" dirty="0"/>
              <a:t>4. Reach set estimation/approximation</a:t>
            </a:r>
          </a:p>
          <a:p>
            <a:r>
              <a:rPr lang="en-US" dirty="0"/>
              <a:t>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80778B22-C87F-4EFE-B395-E9C5520BDA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6FBF1ED-1A9C-4275-9FAF-2175A49D07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181E210-59B8-4D1D-A1DA-4327A3BB69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4073FAC-337E-4240-BD43-67D0D5CD43D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22102F0-A58D-4B68-859F-22AC0EAD7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103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762780-C83C-4F13-A66D-9F290E98E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20DBB5C-BA4C-4529-85A3-020A22C43D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/>
              <a:t>Speech:</a:t>
            </a:r>
            <a:endParaRPr lang="en-US" sz="1400" dirty="0"/>
          </a:p>
          <a:p>
            <a:pPr lvl="0"/>
            <a:r>
              <a:rPr lang="en-US" sz="1400" dirty="0"/>
              <a:t>There is special type of “hybrid automaton” called, </a:t>
            </a:r>
          </a:p>
          <a:p>
            <a:pPr lvl="0"/>
            <a:r>
              <a:rPr lang="en-US" sz="1400" dirty="0"/>
              <a:t>“movement automaton”, which provides sufficient,</a:t>
            </a:r>
          </a:p>
          <a:p>
            <a:pPr lvl="0"/>
            <a:r>
              <a:rPr lang="en-US" sz="1400" dirty="0"/>
              <a:t>abstraction to be reused on different platforms</a:t>
            </a:r>
          </a:p>
          <a:p>
            <a:pPr lvl="0"/>
            <a:r>
              <a:rPr lang="en-US" sz="1400" dirty="0"/>
              <a:t>“Our movement automaton” is based on work of,</a:t>
            </a:r>
          </a:p>
          <a:p>
            <a:pPr lvl="0"/>
            <a:r>
              <a:rPr lang="en-US" sz="1400" dirty="0"/>
              <a:t>“</a:t>
            </a:r>
            <a:r>
              <a:rPr lang="en-US" sz="1400" dirty="0" err="1"/>
              <a:t>Emillio</a:t>
            </a:r>
            <a:r>
              <a:rPr lang="en-US" sz="1400" dirty="0"/>
              <a:t> </a:t>
            </a:r>
            <a:r>
              <a:rPr lang="en-US" sz="1400" dirty="0" err="1"/>
              <a:t>Frazolli</a:t>
            </a:r>
            <a:r>
              <a:rPr lang="en-US" sz="1400" dirty="0"/>
              <a:t>”,</a:t>
            </a:r>
          </a:p>
          <a:p>
            <a:pPr lvl="0"/>
            <a:r>
              <a:rPr lang="en-US" sz="1400" dirty="0"/>
              <a:t>Movement automaton </a:t>
            </a:r>
            <a:r>
              <a:rPr lang="en-US" sz="1400" dirty="0" err="1"/>
              <a:t>hase</a:t>
            </a:r>
            <a:r>
              <a:rPr lang="en-US" sz="1400" dirty="0"/>
              <a:t> the finite set of possible, </a:t>
            </a:r>
          </a:p>
          <a:p>
            <a:pPr lvl="0"/>
            <a:r>
              <a:rPr lang="en-US" sz="1400" dirty="0"/>
              <a:t>movements, which supports determinism (green picture)</a:t>
            </a:r>
          </a:p>
          <a:p>
            <a:r>
              <a:rPr lang="en-US" sz="1400" b="1" dirty="0"/>
              <a:t>Note:</a:t>
            </a:r>
            <a:endParaRPr lang="en-US" sz="1400" dirty="0"/>
          </a:p>
          <a:p>
            <a:pPr lvl="0"/>
            <a:r>
              <a:rPr lang="en-US" sz="1400" dirty="0"/>
              <a:t>In the picture you can see the example of used movement set [red plane is origin], [cyan/magenta plane after movement] </a:t>
            </a:r>
          </a:p>
          <a:p>
            <a:r>
              <a:rPr lang="en-US" sz="1400" b="1" dirty="0"/>
              <a:t>Your Notes:</a:t>
            </a:r>
            <a:endParaRPr lang="en-US" sz="14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B83D553-B7C3-4F61-A5DA-3A5541BE295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DF7513-086D-475A-B3D3-B35DFFDFBD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6B101B8-8257-4D3E-9297-C6095777B4F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768C5A-3CE4-4406-8CF3-F80949FF6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964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9D99B6E-DF4B-4A54-9B29-2B40C258B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7D89A89-412F-4943-8147-9B4C745DC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world map is represented as a set of cells,</a:t>
            </a:r>
          </a:p>
          <a:p>
            <a:pPr lvl="0"/>
            <a:r>
              <a:rPr lang="en-US" sz="1600" dirty="0"/>
              <a:t>Each cell has a rated property, like visibility, reachability,</a:t>
            </a:r>
          </a:p>
          <a:p>
            <a:pPr lvl="0"/>
            <a:r>
              <a:rPr lang="en-US" sz="1600" dirty="0"/>
              <a:t>The “Data fusion” procedure which evaluates these properties is based on work of Gustafson and </a:t>
            </a:r>
            <a:r>
              <a:rPr lang="en-US" sz="1600" dirty="0" err="1"/>
              <a:t>Ramasy</a:t>
            </a:r>
            <a:r>
              <a:rPr lang="en-US" sz="1600" dirty="0"/>
              <a:t>,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From left to right (examples of properties):</a:t>
            </a:r>
          </a:p>
          <a:p>
            <a:pPr lvl="0"/>
            <a:r>
              <a:rPr lang="en-US" sz="1600" dirty="0"/>
              <a:t>1. Intruder intersection rate</a:t>
            </a:r>
          </a:p>
          <a:p>
            <a:pPr lvl="0"/>
            <a:r>
              <a:rPr lang="en-US" sz="1600" dirty="0"/>
              <a:t>2. Obstacle map rate</a:t>
            </a:r>
          </a:p>
          <a:p>
            <a:pPr lvl="0"/>
            <a:r>
              <a:rPr lang="en-US" sz="1600" dirty="0"/>
              <a:t>3. LiDAR hit count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B013DF2-4FCD-4E66-931D-EB223C7132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DF03C31-315C-44DD-B0F9-0DA8D5CCB5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A8253730-553B-4867-A294-D0F2D52831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47E1797-D169-4766-8335-468D8E939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59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919A04-DEC1-4176-863E-F87F0E9B4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88AF7D7-AEC7-4003-B7AE-093545A0FC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navigation is understood as joint of multiple immediate decisions to achieve,</a:t>
            </a:r>
          </a:p>
          <a:p>
            <a:pPr lvl="0"/>
            <a:r>
              <a:rPr lang="en-US" dirty="0"/>
              <a:t>“long-term safe path” between waypoints.</a:t>
            </a:r>
          </a:p>
          <a:p>
            <a:pPr lvl="0"/>
            <a:r>
              <a:rPr lang="en-US" dirty="0"/>
              <a:t>The Sabatini and </a:t>
            </a:r>
            <a:r>
              <a:rPr lang="en-US" dirty="0" err="1"/>
              <a:t>Gardi</a:t>
            </a:r>
            <a:r>
              <a:rPr lang="en-US" dirty="0"/>
              <a:t> laid out the base for UAS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From left to right:</a:t>
            </a:r>
          </a:p>
          <a:p>
            <a:pPr lvl="0"/>
            <a:r>
              <a:rPr lang="en-US" dirty="0"/>
              <a:t>1. Simplified navigation framework structure,</a:t>
            </a:r>
          </a:p>
          <a:p>
            <a:pPr lvl="0"/>
            <a:r>
              <a:rPr lang="en-US" dirty="0"/>
              <a:t>2. Simplified navigation activity diagram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2B795F-28A4-4D97-AC20-F5255C15335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E361A4-6F94-492C-9CC2-B944764FB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5D7F834E-3478-4D09-921A-0C0AEADCF3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EC1CD968-213D-4AB8-BCD6-59BA02492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312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FC37B4-A583-4F0A-8110-786133B6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06C2EC9-A72F-4085-918D-9E355EE2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reach set defines where can UAS fly from initial position in given time frame,</a:t>
            </a:r>
          </a:p>
          <a:p>
            <a:pPr lvl="0"/>
            <a:r>
              <a:rPr lang="en-US" sz="1600" dirty="0"/>
              <a:t>We want to have finite count of possibilities to guarantee finite time solution,</a:t>
            </a:r>
          </a:p>
          <a:p>
            <a:pPr lvl="0"/>
            <a:r>
              <a:rPr lang="en-US" sz="1600" dirty="0"/>
              <a:t>The “lattice trajectory tree” fulfils this purpose,</a:t>
            </a:r>
          </a:p>
          <a:p>
            <a:pPr lvl="0"/>
            <a:r>
              <a:rPr lang="en-US" sz="1600" dirty="0"/>
              <a:t>The work of LaValle, </a:t>
            </a:r>
            <a:r>
              <a:rPr lang="en-US" sz="1600" dirty="0" err="1"/>
              <a:t>Gessel</a:t>
            </a:r>
            <a:r>
              <a:rPr lang="en-US" sz="1600" dirty="0"/>
              <a:t>, and, Esposito are used as base for our algorithm.</a:t>
            </a:r>
          </a:p>
          <a:p>
            <a:r>
              <a:rPr lang="en-US" sz="1600" b="1" dirty="0"/>
              <a:t>Note:</a:t>
            </a:r>
            <a:endParaRPr lang="en-US" sz="1600" dirty="0"/>
          </a:p>
          <a:p>
            <a:pPr lvl="0"/>
            <a:r>
              <a:rPr lang="en-US" sz="1600" dirty="0"/>
              <a:t>On the picture the “reach set approximation” for truck in different starting positions</a:t>
            </a:r>
          </a:p>
          <a:p>
            <a:r>
              <a:rPr lang="en-US" sz="1600" b="1" dirty="0"/>
              <a:t>Your Notes: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2A05E34-A6C2-4AB5-92F3-15A2D5D511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7BD765EF-1D68-4CE6-BFDB-3E5D5EFD0F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60F1F93-F2FA-470E-BF8F-685851581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9105328-52F2-4B0E-981A-B516CAD9DB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939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9C7EC7F-A095-45EC-8DFA-401FBBD83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E648787-E415-4AD2-82B2-19A3B96F8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at’s all for the introduction, </a:t>
            </a:r>
          </a:p>
          <a:p>
            <a:pPr lvl="0"/>
            <a:r>
              <a:rPr lang="en-US" dirty="0"/>
              <a:t>Let us get to the proposed framework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99FC1ED1-4F10-4B02-8400-5EBCF94E750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D8857B4C-4C38-45FB-BCA5-4633113BD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FA86E628-D3DA-4FED-B2D9-048B8AD1E2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FB7ECB-F163-40BE-A708-9A7E2AE146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5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AE8B446-F791-426E-80C6-D7FE24CAE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1EC32A5-4CD0-4794-9592-1CC47F1918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irspace vertical classification based on altitude,</a:t>
            </a:r>
          </a:p>
          <a:p>
            <a:pPr lvl="0"/>
            <a:r>
              <a:rPr lang="en-US" dirty="0"/>
              <a:t>Different rules and authorities applies on different </a:t>
            </a:r>
          </a:p>
          <a:p>
            <a:pPr lvl="0"/>
            <a:r>
              <a:rPr lang="en-US" dirty="0"/>
              <a:t>“flight levels”,</a:t>
            </a:r>
          </a:p>
          <a:p>
            <a:pPr lvl="0"/>
            <a:r>
              <a:rPr lang="en-US" dirty="0"/>
              <a:t> “C class airspace” is where passenger planes operates</a:t>
            </a:r>
          </a:p>
          <a:p>
            <a:r>
              <a:rPr lang="en-US" b="1" dirty="0"/>
              <a:t>Note:</a:t>
            </a:r>
            <a:r>
              <a:rPr lang="en-US" dirty="0"/>
              <a:t> There is slight difference between countries, this example is valid for Czech/Slovak Republic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6F05B4A-09F8-4640-82A1-D0D3A48C654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A74F357A-7977-4140-8187-4E69A7D614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BF368148-577F-403C-927C-B40318F8DE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54D62CC-E4DE-4309-BDCF-53900372A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46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>
            <a:extLst>
              <a:ext uri="{FF2B5EF4-FFF2-40B4-BE49-F238E27FC236}">
                <a16:creationId xmlns:a16="http://schemas.microsoft.com/office/drawing/2014/main" id="{128FC0FA-77C9-48FB-86B2-D1F3B2ABB0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6" name="Notes Placeholder 15">
            <a:extLst>
              <a:ext uri="{FF2B5EF4-FFF2-40B4-BE49-F238E27FC236}">
                <a16:creationId xmlns:a16="http://schemas.microsoft.com/office/drawing/2014/main" id="{DA82CCA7-B7FC-4F95-B3E8-8B7EDA332A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sz="1600" b="1" dirty="0"/>
              <a:t>Speech:</a:t>
            </a:r>
            <a:endParaRPr lang="en-US" sz="1600" dirty="0"/>
          </a:p>
          <a:p>
            <a:pPr lvl="0"/>
            <a:r>
              <a:rPr lang="en-US" sz="1600" dirty="0"/>
              <a:t>The framework works like follow:</a:t>
            </a:r>
          </a:p>
          <a:p>
            <a:pPr lvl="0"/>
            <a:r>
              <a:rPr lang="en-US" sz="1600" dirty="0"/>
              <a:t>1. The entry point is Data fusion (green &lt;plane&gt; box),</a:t>
            </a:r>
          </a:p>
          <a:p>
            <a:pPr lvl="0"/>
            <a:r>
              <a:rPr lang="en-US" sz="1600" dirty="0"/>
              <a:t>2. Data fusion gives “Situation overview” to “Avoidance Run”,</a:t>
            </a:r>
          </a:p>
          <a:p>
            <a:pPr lvl="0"/>
            <a:r>
              <a:rPr lang="en-US" sz="1600" dirty="0"/>
              <a:t>3. “Avoidance Run” (orange box) stores the situation in “Grid”,</a:t>
            </a:r>
          </a:p>
          <a:p>
            <a:pPr lvl="0"/>
            <a:r>
              <a:rPr lang="en-US" sz="1600" dirty="0"/>
              <a:t>4. The “Situational Assessment” (blue box) based on “Goal waypoint” and “rules” selects the most feasible “short-term avoidance trajectory” from the reach set.</a:t>
            </a:r>
          </a:p>
          <a:p>
            <a:pPr lvl="0"/>
            <a:r>
              <a:rPr lang="en-US" sz="1600" dirty="0"/>
              <a:t>5. The “Navigation loop” is responsible for long term navigation.</a:t>
            </a:r>
          </a:p>
          <a:p>
            <a:pPr lvl="0"/>
            <a:r>
              <a:rPr lang="en-US" sz="1600" dirty="0"/>
              <a:t>6. The movement automaton is responsible for “reference path translation”</a:t>
            </a:r>
          </a:p>
          <a:p>
            <a:pPr lvl="0"/>
            <a:r>
              <a:rPr lang="en-US" sz="1600" dirty="0"/>
              <a:t>Then let us look on details.	</a:t>
            </a:r>
          </a:p>
          <a:p>
            <a:r>
              <a:rPr lang="en-US" sz="1600" b="1" dirty="0"/>
              <a:t>Your Notes:</a:t>
            </a:r>
            <a:endParaRPr lang="en-US" sz="1600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CAC9F7A-C301-4223-9760-06431A388ED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8" name="Header Placeholder 5">
            <a:extLst>
              <a:ext uri="{FF2B5EF4-FFF2-40B4-BE49-F238E27FC236}">
                <a16:creationId xmlns:a16="http://schemas.microsoft.com/office/drawing/2014/main" id="{6008ED98-756E-4DC7-B133-2BF4FC6C8DB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87CB260-EF09-414B-AEFB-23CD900121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42DDE9B9-A28F-4888-8846-CDBA80DC4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controlled plant (sec. 6.2) for UAS model, is continuous time system, (dramatic pause, click)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AE7E34D-DD9A-4170-8C04-5A2514DB6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7C61D7F-79DC-4F6C-A230-1EC0FB9E6E7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B5003A06-5AB8-4DCF-8CCB-6A9B6661B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C49CB8C-6F0E-4F56-BA55-E056C1EC6DA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4910B5-FE5C-485B-AA7C-108F24353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545721A-19D7-4293-90EB-DF919982C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058C4CB-9068-43E8-9AD0-4A0B63477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model is simple 3D unicycle, </a:t>
            </a:r>
          </a:p>
          <a:p>
            <a:pPr lvl="0"/>
            <a:r>
              <a:rPr lang="en-US" dirty="0"/>
              <a:t>With position (GCF) and orientation (GCF) as a state (6.1)</a:t>
            </a:r>
          </a:p>
          <a:p>
            <a:pPr lvl="0"/>
            <a:r>
              <a:rPr lang="en-US" dirty="0"/>
              <a:t>And control input as scalar velocity and angular velocity (6.2),</a:t>
            </a:r>
          </a:p>
          <a:p>
            <a:pPr lvl="0"/>
            <a:r>
              <a:rPr lang="en-US" dirty="0"/>
              <a:t>The model is then given by set of equations (6.4).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 simple model was used to ease reach set estimation experimentation,</a:t>
            </a:r>
          </a:p>
          <a:p>
            <a:pPr lvl="0"/>
            <a:r>
              <a:rPr lang="en-US" dirty="0"/>
              <a:t>The angular velocities are decoupled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1426B43-7F5F-422F-A92F-5E08211221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E3A35604-D2B6-4171-9144-CB749F88CA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689F7B3-66C2-4A21-8E01-BB054F85624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37785DA3-E658-4ED3-86F4-9A69FF2EE6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882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443ACB76-2CD9-4BDB-B513-A804D0992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AF4E9B86-E2EF-4C64-B8EE-094F0CC489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 dirty="0"/>
              <a:t>Speech:</a:t>
            </a:r>
            <a:endParaRPr lang="en-US" dirty="0"/>
          </a:p>
          <a:p>
            <a:pPr lvl="0"/>
            <a:r>
              <a:rPr lang="en-US" dirty="0"/>
              <a:t>The UAS is controlled via Movement automaton</a:t>
            </a:r>
          </a:p>
          <a:p>
            <a:pPr lvl="0"/>
            <a:r>
              <a:rPr lang="en-US" dirty="0"/>
              <a:t>Movement automaton consumes commands – movements,</a:t>
            </a:r>
          </a:p>
          <a:p>
            <a:pPr lvl="0"/>
            <a:r>
              <a:rPr lang="en-US" dirty="0"/>
              <a:t>In the picture you can see example of simple Copter movement automaton, with four movem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movement automaton is just hybrid automaton with enforced state changes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480378B6-5D30-4D8F-BE08-000B615F5A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2" name="Header Placeholder 5">
            <a:extLst>
              <a:ext uri="{FF2B5EF4-FFF2-40B4-BE49-F238E27FC236}">
                <a16:creationId xmlns:a16="http://schemas.microsoft.com/office/drawing/2014/main" id="{CBB8B93E-1046-486A-90AB-367B492977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3" name="Footer Placeholder 9">
            <a:extLst>
              <a:ext uri="{FF2B5EF4-FFF2-40B4-BE49-F238E27FC236}">
                <a16:creationId xmlns:a16="http://schemas.microsoft.com/office/drawing/2014/main" id="{7C3117E4-7515-4BBB-8E87-ADE93C471E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4" name="Slide Number Placeholder 11">
            <a:extLst>
              <a:ext uri="{FF2B5EF4-FFF2-40B4-BE49-F238E27FC236}">
                <a16:creationId xmlns:a16="http://schemas.microsoft.com/office/drawing/2014/main" id="{9DFE60A5-68AC-4998-896B-0E86A2E9C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E526982-8134-47E5-A3E4-F8195A5DCB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6C2D1A-8737-4B67-A9BB-6BF10BCA6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movement set is a set of automaton states,</a:t>
            </a:r>
          </a:p>
          <a:p>
            <a:pPr lvl="0"/>
            <a:r>
              <a:rPr lang="en-US" dirty="0"/>
              <a:t>For our model there is a possibility to deriver nine (9) “elementary movements” (6.11),</a:t>
            </a:r>
          </a:p>
          <a:p>
            <a:pPr lvl="0"/>
            <a:r>
              <a:rPr lang="en-US" dirty="0"/>
              <a:t>In the picture the red plane shows the position before movement application, other colors after movement application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Similar movement set can be achieved for many UAS models,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E4F8BA37-0F70-4979-A1D2-C48767EE30A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5034FA2-B00D-4803-88D3-5448F28AA0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F919587-CA94-4073-A85B-8FBFD63E8F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4BB7D13-3EC3-4B20-ACB0-9EB81EF6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55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369196D-954F-4663-8B01-B2DB241E4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175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728AB93-D875-494B-B646-0F44A5BBD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buffer is created by chaining multiple elementary movements as command chain,</a:t>
            </a:r>
          </a:p>
          <a:p>
            <a:pPr lvl="0"/>
            <a:r>
              <a:rPr lang="en-US" dirty="0"/>
              <a:t>The command chain is stored in Buffer structure (6.12),</a:t>
            </a:r>
          </a:p>
          <a:p>
            <a:pPr lvl="0"/>
            <a:r>
              <a:rPr lang="en-US" dirty="0"/>
              <a:t>The movement automaton continuously consumes buffer to control UAS over trajectory,</a:t>
            </a:r>
          </a:p>
          <a:p>
            <a:pPr lvl="0"/>
            <a:r>
              <a:rPr lang="en-US" dirty="0"/>
              <a:t>The trajectory for some initial state and buffer is given as,</a:t>
            </a:r>
          </a:p>
          <a:p>
            <a:pPr lvl="0"/>
            <a:r>
              <a:rPr lang="en-US" dirty="0"/>
              <a:t>The chain of the state changes with corresponding movement applications (6.13)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261413E-B530-476C-9309-01CF423D04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652CE76-BBA3-40C3-A44B-46EF5750E3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6C35461-D227-43EF-AE2A-C30312DD4C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5E43828-91BD-4269-9713-221184E65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98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Reach set is used for decision making,</a:t>
            </a:r>
          </a:p>
          <a:p>
            <a:pPr lvl="0"/>
            <a:r>
              <a:rPr lang="en-US" dirty="0"/>
              <a:t>It can be imagined as “tree of trajectories”,</a:t>
            </a:r>
          </a:p>
          <a:p>
            <a:pPr lvl="0"/>
            <a:r>
              <a:rPr lang="en-US" dirty="0"/>
              <a:t>Example: Reach set using our method (red) in Field of vision (aquamarin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4CD1593-85D1-4557-B0D5-C1ADB23A08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1E27901F-4D72-453C-AD7C-1B9FD05B0A4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525C1C5C-DCB3-4F37-B292-60693E6B91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05E920-B006-4996-B284-4EB949F7D0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A46A48-A03C-41D3-9255-E128916AD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807C17-EA24-4C20-B89E-E271A20553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697913-80EA-466C-B37B-BC8876651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UAS operational space is represented by</a:t>
            </a:r>
          </a:p>
          <a:p>
            <a:pPr lvl="0"/>
            <a:r>
              <a:rPr lang="en-US" dirty="0"/>
              <a:t>“Avoidance grid” (6.20)</a:t>
            </a:r>
          </a:p>
          <a:p>
            <a:pPr lvl="0"/>
            <a:r>
              <a:rPr lang="en-US" dirty="0"/>
              <a:t>Avoidance grid represented in planar coordinates is split into the uniform cells with space portion (6.15)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The space bounded by cells is exclusive (6.21).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BA6F635-8DC2-4DD0-8FA8-0A63437508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3D842D43-AC6D-435E-AA02-FB4BD5BB5F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898D93-F6F5-4B1D-8701-410BA97A14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AD31F26-88D8-4260-A5C2-44416BE9C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95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C305976-239A-47D6-B69A-D9BD50055B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1110D4B-79B1-4099-B3A6-9AC1E982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oidance grid example is denoted by red line, the blue plane is in the center.</a:t>
            </a:r>
          </a:p>
          <a:p>
            <a:pPr lvl="0"/>
            <a:r>
              <a:rPr lang="en-US" dirty="0"/>
              <a:t>Then the Reach set approximation is given as a set of trajectories originating in “initial state” with limited duration (6.23),</a:t>
            </a:r>
          </a:p>
          <a:p>
            <a:pPr lvl="0"/>
            <a:r>
              <a:rPr lang="en-US" dirty="0"/>
              <a:t>The trajectory is given as a execution of movement chain - “buffer” applied on initial state,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Refer to section (6.4.1) for detailed explanation.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2F964CD-7011-4828-ABDE-19E60CF928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51BD2E2-7336-4065-88A1-157BCA6E5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2EA07696-2D06-469F-9E30-B57939B312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FF279A9-36C2-4AAD-B1B3-2EB47BAE8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444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goal is to have meaning full trajectories in Reach Set Approximation,</a:t>
            </a:r>
          </a:p>
          <a:p>
            <a:pPr lvl="0"/>
            <a:r>
              <a:rPr lang="en-US" dirty="0"/>
              <a:t>The trajectory relation to the “avoidance grid” is given by its footprint, the set of cells passed by trajectory,</a:t>
            </a:r>
          </a:p>
          <a:p>
            <a:pPr lvl="0"/>
            <a:r>
              <a:rPr lang="en-US" dirty="0"/>
              <a:t>In the left figure you can see six trajectories going over avoidance grid,</a:t>
            </a:r>
          </a:p>
          <a:p>
            <a:pPr lvl="0"/>
            <a:r>
              <a:rPr lang="en-US" dirty="0"/>
              <a:t>There are only three unique footprints, </a:t>
            </a:r>
          </a:p>
          <a:p>
            <a:pPr lvl="0"/>
            <a:r>
              <a:rPr lang="en-US" dirty="0"/>
              <a:t>That means we need only 3 of those trajectories,</a:t>
            </a:r>
          </a:p>
          <a:p>
            <a:pPr lvl="0"/>
            <a:r>
              <a:rPr lang="en-US" dirty="0"/>
              <a:t>The right figure shows four trajectories with same footprint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258556D-E807-4A4B-8387-37DE493CA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0E123CC-40EB-405C-970F-F7B0D7F6CA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768AA3BA-9640-49F0-90B1-9E5DEE9D7B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BA5234C-7D1F-4B86-AE21-FE219FCE98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DC66BC1-FA99-4431-9CFB-4A1FC08EFE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3BCBA85-926B-4102-96DD-FB2110621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2F5110F-0117-482F-83CC-A0BD24E8D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horizontal plane restrictions, </a:t>
            </a:r>
          </a:p>
          <a:p>
            <a:pPr lvl="0"/>
            <a:r>
              <a:rPr lang="en-US" dirty="0"/>
              <a:t>Airspace authority can prohibit operations in specific area,</a:t>
            </a:r>
          </a:p>
          <a:p>
            <a:pPr lvl="0"/>
            <a:r>
              <a:rPr lang="en-US" dirty="0"/>
              <a:t>For example the “orange rectangle” was marked as</a:t>
            </a:r>
          </a:p>
          <a:p>
            <a:pPr lvl="0"/>
            <a:r>
              <a:rPr lang="en-US" dirty="0"/>
              <a:t>”Restricted Area”,</a:t>
            </a:r>
          </a:p>
          <a:p>
            <a:pPr lvl="0"/>
            <a:r>
              <a:rPr lang="en-US" dirty="0"/>
              <a:t>Due the “Military exercise”.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17622B8-B6AE-4E04-9C17-F864B83728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41282F0B-3980-4D53-8B37-8BB5B7B27B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C95CD-7A5D-4071-8F02-716D228044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A7F5A749-7976-4E29-967A-A4DA01DAF0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226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D4CAF4B-1AB2-4AC9-B9E5-1D480221B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1AA3867-8EB7-44F0-81A4-F637DCFACD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trajectory properties are considered when the candidate trajectory for Reach set approximation is selected,</a:t>
            </a:r>
          </a:p>
          <a:p>
            <a:pPr lvl="0"/>
            <a:r>
              <a:rPr lang="en-US" dirty="0"/>
              <a:t>In the figure you can see selection process based on coverage property,</a:t>
            </a:r>
          </a:p>
          <a:p>
            <a:r>
              <a:rPr lang="en-US" b="1" dirty="0"/>
              <a:t>Note: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You can track any property of the trajectory in relation to operational space or airspace, as you will see later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39097E9-2308-4B67-A4D2-654BF3304EA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1EBF2F0D-EFF1-4506-BC83-616E78FDE6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7906D52-D7E6-4D63-936E-25874153D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8F14674-63FE-4FD4-B9B4-D190727B96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9881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3A076D-005C-42E4-A198-4DF1D2CDE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4997EF7-B6B2-4D13-A738-885133DB9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llowing reach set approximations were developed:</a:t>
            </a:r>
          </a:p>
          <a:p>
            <a:pPr lvl="0"/>
            <a:r>
              <a:rPr lang="en-US" b="1" dirty="0"/>
              <a:t>1. Coverage maximizing (6.4.4)</a:t>
            </a:r>
            <a:endParaRPr lang="en-US" dirty="0"/>
          </a:p>
          <a:p>
            <a:pPr lvl="0"/>
            <a:r>
              <a:rPr lang="en-US" dirty="0"/>
              <a:t>A. contains trajectories maximizing avoidance capability</a:t>
            </a:r>
          </a:p>
          <a:p>
            <a:pPr lvl="0"/>
            <a:r>
              <a:rPr lang="en-US" dirty="0"/>
              <a:t>B. Used for intruder/obstacle avoidance</a:t>
            </a:r>
          </a:p>
          <a:p>
            <a:pPr lvl="0"/>
            <a:r>
              <a:rPr lang="en-US" dirty="0"/>
              <a:t>C. In non-controlled airspace</a:t>
            </a:r>
          </a:p>
          <a:p>
            <a:pPr lvl="0"/>
            <a:r>
              <a:rPr lang="en-US" b="1" dirty="0"/>
              <a:t>2. Turn minimizing (6.4.5)</a:t>
            </a:r>
            <a:endParaRPr lang="en-US" dirty="0"/>
          </a:p>
          <a:p>
            <a:pPr lvl="0"/>
            <a:r>
              <a:rPr lang="en-US" dirty="0"/>
              <a:t>A. Contains trajectories with minimal turning, </a:t>
            </a:r>
          </a:p>
          <a:p>
            <a:pPr lvl="0"/>
            <a:r>
              <a:rPr lang="en-US" dirty="0"/>
              <a:t>B. Used for navigation, increases behavior predictability,</a:t>
            </a:r>
          </a:p>
          <a:p>
            <a:pPr lvl="0"/>
            <a:r>
              <a:rPr lang="en-US" dirty="0"/>
              <a:t>C. Used in non-controlled airspace 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7EB3EA-3356-4188-9EAD-568CB18E37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69D6210E-A06D-4B1A-A663-2ABF3D5982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CFA1613-A2DC-4CB4-BEC8-9C0AFF1D40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4EBDB2E-C400-43A0-B2B4-5E30620B7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55701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B168F78-6822-4C87-A60C-52BF075E5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8DAEAAE-2FA6-4EE0-BEFD-A0DA55FCA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idea behind combined RSA (6.4.7) is to have properties of both turn minimizing and coverage maximizing RSA. </a:t>
            </a:r>
          </a:p>
          <a:p>
            <a:pPr lvl="0"/>
            <a:r>
              <a:rPr lang="en-US" dirty="0"/>
              <a:t>To be compatible with controlled airspace, the “ACAS-like”  (6.4.6) RSA was developed to emulate horizontal/ vertical/ cross section separations of modern aircrafts.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All reach sets are for 3D space</a:t>
            </a:r>
          </a:p>
          <a:p>
            <a:pPr lvl="0"/>
            <a:r>
              <a:rPr lang="en-US" dirty="0"/>
              <a:t>ACAS operational mode can be constrained.</a:t>
            </a:r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33FF554D-3A7F-4D4B-BE66-0594552F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E926CB5-37C6-404F-AFDF-BE2D101F40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34CDFA8-B057-4AAF-902E-35002354B6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6B1FEBBD-DDC6-4677-A214-7E10B079D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027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use Reach set Approximation, we need a mission plan,</a:t>
            </a:r>
          </a:p>
          <a:p>
            <a:pPr lvl="0"/>
            <a:r>
              <a:rPr lang="en-US" dirty="0"/>
              <a:t>The mission plan is given as ordered set of waypoints,</a:t>
            </a:r>
          </a:p>
          <a:p>
            <a:pPr lvl="0"/>
            <a:r>
              <a:rPr lang="en-US" dirty="0"/>
              <a:t>The example shows a trajectory with multiple decisions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3DEB1A2-9FBC-45BD-8DA8-F980F289F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AB7BCA8-160B-4502-9413-3A700CEEDCB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2E5C170-6EFA-485A-9703-4AB58CABE6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7A637F7E-729A-4C86-86EC-A0BB33D211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F8EC5BD-7F82-40E1-85F0-8488A0D99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o evaluate situation we need some input data,</a:t>
            </a:r>
          </a:p>
          <a:p>
            <a:pPr lvl="0"/>
            <a:r>
              <a:rPr lang="en-US" dirty="0"/>
              <a:t>For intruder position the ADS-B is used,</a:t>
            </a:r>
          </a:p>
          <a:p>
            <a:pPr lvl="0"/>
            <a:r>
              <a:rPr lang="en-US" dirty="0"/>
              <a:t>Each air traffic attendant is broadcasting its position and heading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077B9E4-BD7A-4DC9-9243-85E04C6AB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EE7FA7A-F0BE-4E19-962B-78F2C9728EB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4F7FDA7D-DE6F-4DD5-A3F1-E9B8388EE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2E87CF74-A3F1-40D7-9248-840A3C390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B0FF4044-21BB-45D9-91CD-0A1DCD3CB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is a sensor of choice for static obstacles,</a:t>
            </a:r>
          </a:p>
          <a:p>
            <a:pPr lvl="0"/>
            <a:r>
              <a:rPr lang="en-US" dirty="0"/>
              <a:t>In the example data you can see a small farm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Moving object filtering is neglected</a:t>
            </a:r>
          </a:p>
          <a:p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9A82CC7B-7CF5-4882-9580-0D5021E7A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94CD2FC-BB93-4A91-9850-9B83D986897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73EAFD83-3A49-438E-93C4-640E565BFE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10D6296-CD47-482B-888B-1EE605D2D1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4D577BD-E5D6-4750-AC58-B0EBE8664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BDD2B7A-E945-472B-87BF-A7EF34FD4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BFDD7D-8A68-4C30-AF16-37C74DF81E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LiDAR classification algorithms can be used for the,</a:t>
            </a:r>
          </a:p>
          <a:p>
            <a:pPr lvl="0"/>
            <a:r>
              <a:rPr lang="en-US" dirty="0"/>
              <a:t>“Offline maps” creation,</a:t>
            </a:r>
          </a:p>
          <a:p>
            <a:pPr lvl="0"/>
            <a:r>
              <a:rPr lang="en-US" dirty="0"/>
              <a:t>In the example you can see farm data (NW) classification,</a:t>
            </a:r>
          </a:p>
          <a:p>
            <a:r>
              <a:rPr lang="en-US" dirty="0"/>
              <a:t>For vegetation (NE), Terrain (SW), Buildings (SE),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5D5CC73-3A7A-4F1F-8199-6AA735B6260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78631DC-545A-483A-836E-97BAFFC724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F1B3CA0-33C1-4B3F-8F00-19A649BFB8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1FACC492-D130-48D8-926C-A06F33A29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266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re is an example of offline map created by one of my master students,</a:t>
            </a:r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Here is example of cuboid coatings (dark blue) with virtual convex coating (magenta, cyan, yellow, red)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B75428-6241-4815-A07F-D75131FC8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D023E490-AEF4-4BB2-9CA2-8DA7B29FBB5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22BB774B-91C5-492F-A5CE-DB11A9D6A8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DAD46F0-B427-4E1D-ABA8-FDD6CC33ED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F365D846-7A2B-4871-9766-81B28B5D4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4A494DB-2346-43B0-8D54-3BF7EF2A1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F46C452-8DE1-47F1-8A47-DE6F54188FD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8" name="Header Placeholder 5">
            <a:extLst>
              <a:ext uri="{FF2B5EF4-FFF2-40B4-BE49-F238E27FC236}">
                <a16:creationId xmlns:a16="http://schemas.microsoft.com/office/drawing/2014/main" id="{26017F74-DFD7-4A7E-9433-8C7E29AFB4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612439ED-A217-40EB-89B8-F36B16DE58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E4E552BC-CA85-4A6D-A48A-835D5712B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FF0FEF7-BA10-4C4A-BE61-131E82685D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C4839FE-9D06-4E5E-926A-556812559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AD706F71-A85E-410F-A2B9-ACCA21F5A3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25234B-B295-444A-8ED9-01D22F2AB7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FA95B95A-510D-488D-B406-6D72CB5403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8DDDAE31-6CB5-4D54-945C-B756969D20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9F74F69-D5BE-46F4-8BFD-0D7BC58F3A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220E6B7-8C31-4221-B728-D6191A00ED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As for the planes there is ATM, the similar concept is applied for UAS, The UAS Traffic Management system is established by “EASA” in EU,</a:t>
            </a:r>
          </a:p>
          <a:p>
            <a:pPr lvl="0"/>
            <a:r>
              <a:rPr lang="en-US" dirty="0"/>
              <a:t>You can see examples of UAS operations:</a:t>
            </a:r>
          </a:p>
          <a:p>
            <a:pPr lvl="0"/>
            <a:r>
              <a:rPr lang="en-US" dirty="0"/>
              <a:t>	1. Free flight,</a:t>
            </a:r>
          </a:p>
          <a:p>
            <a:pPr lvl="0"/>
            <a:r>
              <a:rPr lang="en-US" dirty="0"/>
              <a:t>	2. Corridor like navigation,</a:t>
            </a:r>
          </a:p>
          <a:p>
            <a:pPr lvl="0"/>
            <a:r>
              <a:rPr lang="en-US" dirty="0"/>
              <a:t>	3. Authority enforcement,</a:t>
            </a:r>
          </a:p>
          <a:p>
            <a:pPr lvl="0"/>
            <a:r>
              <a:rPr lang="en-US" dirty="0"/>
              <a:t>The latest has been implemented in our work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AD1D7CF-AADC-493B-B972-8F6F75181E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E7A0925-AF21-4D61-B445-ADD4BE97D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FCFC325-ABB0-4588-BBDB-A42A1FC0F49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C31D7C7-CBF5-4DBD-9E14-9DEFD968C3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296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ACFA4E0-6F70-47EB-B282-C13E4651E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13A925C-6489-4663-8741-E6580B706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5AEC91B9-EB86-40BF-B56B-61D7E65B25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C97C1417-346C-40B9-BA9B-3B02A2FFA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9B52275-3A0E-43A5-8592-D2D06F2AF2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CBA23FF1-CC3F-4AF8-BC75-76691458E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770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3CBB7D5-73C1-44FA-85B8-8ECAF8EE4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575902-029A-46AF-B39C-E8A072849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195FBBFB-D91B-45F2-ABAC-6D94A2DF67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DB7FC26A-06B3-44E5-BE45-7CE8D8402C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3CC53EE-68C1-4C15-8E7B-F6690CF8CD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E5AF405-1B3D-4CC5-8CE0-A70C6C670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2268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3A1819-125B-42BB-A23D-A32C92FA3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FF8C3BB-6594-4D54-B37C-AB135CEBAA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202543-E1E9-42C5-959B-7A13084E168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EB50A8B-F01D-417B-8836-C3D6EA41D4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7CB3BB8-D65D-404A-92E4-96ABC556CF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0FCB53B3-7CDC-4C52-B957-63CF74C6C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798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603DB47-0481-4817-81E2-D534BE0D61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89B125-533C-4D0B-B75E-93B6D4E8F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F4BE016-60A4-4D31-A551-9F1E7EF014E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0B7A0BD-A7C1-49BE-A6BE-A3E132F52B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CE77B986-9304-464F-99A1-F6324BF471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FCD59AD4-66B7-4DA4-9094-DAD666E40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044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848920-F564-45B2-9AD9-F2978BF964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676E581-4E17-499D-9F19-587788C81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F4B5DB9-611D-486E-9836-35BED0538D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F574701-91D0-4FD0-833C-CCFE90FA42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25E5B-75C0-40B9-A5D2-3FD8642D63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398085-EAF9-48D2-8815-E3EAB5D6B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11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515E9E1-CFEA-48CE-9AE6-CB585FE99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4BBF840-8AD8-4563-81BD-6AC79B65D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6341B8-880C-44B9-8A59-A705C36E9A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9D13E536-3D50-4AFA-9806-661DF59E7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3656FBA-4B15-44E2-8111-6079157AD2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075AB53-B650-4F1D-A5B6-A2BD0C520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338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1691EC8-8612-4D73-A093-DC9AF49E3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7B7B8CFE-4C80-4CD0-B9BD-D212CDFA9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7A03451-53C7-404E-B566-6816CBE334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7168BC43-8BEE-4E28-87ED-13385B15D4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35B9295B-B22F-4FE1-A461-92788101245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4FF56ADC-CD70-4164-9EA3-68CD765695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14457D6-5F97-49E0-AD3E-65F7770E2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C2555117-239B-40B8-8E4A-87EDCF398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C11D559D-E019-44F4-83D6-31C40201935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66AAAC7B-0714-41DC-92C5-0DAD7EE77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464E9DC2-0241-4F7C-886D-E3047CB8DF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8D940D16-86F6-4696-A547-55C220F1C8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DF552AE-A065-4FD6-B7A1-0167D2796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91721393-19CF-4B29-A73D-447AF5F99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0241D8FD-1929-47FF-B755-5CC0EBCE216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83A846B8-BF8E-40E6-8E5E-16B0A89D7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2A1C8EF1-42F2-4942-B01E-C0CA3EBEC84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1F9D73B9-B440-470C-8DB4-AC3246401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DE0BE1A8-4B81-46B7-8341-AACDC4BF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4F3FC424-7938-47A7-A0FB-B69A1EBCF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aviation is using “Well clear distance”</a:t>
            </a:r>
          </a:p>
          <a:p>
            <a:pPr lvl="0"/>
            <a:r>
              <a:rPr lang="en-US" dirty="0"/>
              <a:t>The bigger barrel is called “Well clear margin”</a:t>
            </a:r>
          </a:p>
          <a:p>
            <a:pPr lvl="0"/>
            <a:r>
              <a:rPr lang="en-US" dirty="0"/>
              <a:t>Which is considered as “warning zone”</a:t>
            </a:r>
          </a:p>
          <a:p>
            <a:pPr lvl="0"/>
            <a:r>
              <a:rPr lang="en-US" dirty="0"/>
              <a:t>No plane should enter that zone</a:t>
            </a:r>
          </a:p>
          <a:p>
            <a:pPr lvl="0"/>
            <a:r>
              <a:rPr lang="en-US" dirty="0"/>
              <a:t>The smaller barrel is called “near miss margin”,</a:t>
            </a:r>
          </a:p>
          <a:p>
            <a:pPr lvl="0"/>
            <a:r>
              <a:rPr lang="en-US" dirty="0"/>
              <a:t>Entrance is considered as a “serious incident”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72E5BF8-9DC1-46E4-94DC-D2894FA89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16334C6F-D4C6-4B8E-B718-15A54EF71A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ADFEB8-9816-4CA5-BD26-8B08F17651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E91782F-077B-49CF-93B9-F38FE38D1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19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8AE2E09-D0B4-4D73-AD7A-08979D81F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A12AA5B0-68BD-4496-A89B-74C7B37653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602630DE-B1DD-4CDD-AD88-384B5EB4568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4" name="Header Placeholder 5">
            <a:extLst>
              <a:ext uri="{FF2B5EF4-FFF2-40B4-BE49-F238E27FC236}">
                <a16:creationId xmlns:a16="http://schemas.microsoft.com/office/drawing/2014/main" id="{C15C9E01-60BE-46AD-A68C-117EB61EF3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B3308CC6-FA71-4D4D-A74A-144F15963E8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DA20AFCF-BE9E-4D61-998C-B64771696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18" name="Slide Image Placeholder 17">
            <a:extLst>
              <a:ext uri="{FF2B5EF4-FFF2-40B4-BE49-F238E27FC236}">
                <a16:creationId xmlns:a16="http://schemas.microsoft.com/office/drawing/2014/main" id="{D23F815E-3098-4DF4-8D61-6C6FB4678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9" name="Date Placeholder 4">
            <a:extLst>
              <a:ext uri="{FF2B5EF4-FFF2-40B4-BE49-F238E27FC236}">
                <a16:creationId xmlns:a16="http://schemas.microsoft.com/office/drawing/2014/main" id="{A63BF9DD-5724-404A-8FB2-C133F8124B4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20" name="Header Placeholder 5">
            <a:extLst>
              <a:ext uri="{FF2B5EF4-FFF2-40B4-BE49-F238E27FC236}">
                <a16:creationId xmlns:a16="http://schemas.microsoft.com/office/drawing/2014/main" id="{BA71AF19-EB18-4580-8B30-8EB59261FA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21" name="Footer Placeholder 9">
            <a:extLst>
              <a:ext uri="{FF2B5EF4-FFF2-40B4-BE49-F238E27FC236}">
                <a16:creationId xmlns:a16="http://schemas.microsoft.com/office/drawing/2014/main" id="{36D2AAE7-2B03-4115-8F3A-BF13DAD425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22" name="Slide Number Placeholder 11">
            <a:extLst>
              <a:ext uri="{FF2B5EF4-FFF2-40B4-BE49-F238E27FC236}">
                <a16:creationId xmlns:a16="http://schemas.microsoft.com/office/drawing/2014/main" id="{6E945562-C247-4CA7-80C5-223008C74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1B8AA8D1-D951-49B8-8354-8CA2D8883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E1F3C1-8198-46F3-BCDA-4F62D0215A9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19EA0A8E-8EE3-4569-BDBB-0024121490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8E494886-D334-4DD0-8F34-6E0D9B05D39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761110-B1EB-4E22-99A8-24825B7988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5F55E921-3550-4AC2-9ED0-E13A0810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7BFA22B-1E45-4D26-872D-0D0135A16D6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DE500BDA-B2AA-42A1-B8BF-A4B2DCF979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8B211183-A9AA-4295-9515-D0C40DB616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88AB0A5-E8F6-4E82-9069-4442A24A0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D3E93218-DE58-46A1-B016-8584C0F56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CC3893CA-31CA-42A3-A9BD-B5B6D4F5BB0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1" name="Header Placeholder 5">
            <a:extLst>
              <a:ext uri="{FF2B5EF4-FFF2-40B4-BE49-F238E27FC236}">
                <a16:creationId xmlns:a16="http://schemas.microsoft.com/office/drawing/2014/main" id="{D634A853-F03D-41D5-88AF-5C88001FE2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986EA7C5-939F-4A05-8430-CEB9BA81C9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2D6C5A15-D469-4D81-B167-998CDD9FF7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21F88B5-BDD3-4290-B830-F97330218E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E2348D4E-1CC1-4E7B-B63E-6854EA07B87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5D0B58C5-8709-4FA0-94D5-65B1BA2ED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D102158F-FE5A-4D8C-B229-DC1429D3A0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DEB3EE-0D13-4928-93E4-4F8F263CD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3A672BBA-D26E-48D9-8FC3-2F7A8A9B5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0CFD4F5B-CAB1-4692-A79E-1FAEEDB779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030D780-8E4F-4EF3-82E8-01799AF3D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1A525660-53EB-4B51-921C-9EC56252115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476AC306-CDB7-49F3-9592-276FB908F1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7EEB7186-B5D9-4555-BC82-1745380021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121FF937-F49E-4892-A758-8A45DB9D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E12BC3-BDAE-4B3B-8ABE-B8279E82D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020F5318-5729-4D5A-9BF0-462CBFC4AF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68615DB-91EB-4EC1-8D02-AEC8E81525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9CDBB41-26F5-4585-9BD2-158DAB1880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CE58AEBC-81C6-4F26-805E-BA6883DA3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5FA43FA4-6CE4-4C3C-BC5B-FBAF42759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D049185-848E-484A-8520-F1B3188C3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</a:t>
            </a:r>
            <a:r>
              <a:rPr lang="en-US" b="1" dirty="0"/>
              <a:t>UAS </a:t>
            </a:r>
            <a:r>
              <a:rPr lang="en-US" dirty="0"/>
              <a:t>is interacting with </a:t>
            </a:r>
            <a:r>
              <a:rPr lang="en-US" b="1" dirty="0"/>
              <a:t>obstacles</a:t>
            </a:r>
            <a:r>
              <a:rPr lang="en-US" dirty="0"/>
              <a:t>:</a:t>
            </a:r>
          </a:p>
          <a:p>
            <a:pPr lvl="0"/>
            <a:r>
              <a:rPr lang="en-US" dirty="0"/>
              <a:t>- </a:t>
            </a:r>
            <a:r>
              <a:rPr lang="en-US" b="1" dirty="0"/>
              <a:t>Static</a:t>
            </a:r>
            <a:r>
              <a:rPr lang="en-US" dirty="0"/>
              <a:t> not changing position with time, like buildings,</a:t>
            </a:r>
          </a:p>
          <a:p>
            <a:pPr lvl="0"/>
            <a:r>
              <a:rPr lang="en-US" dirty="0"/>
              <a:t>- Moving which are not trying to harm us – </a:t>
            </a:r>
            <a:r>
              <a:rPr lang="en-US" b="1" dirty="0"/>
              <a:t>Intruders,</a:t>
            </a:r>
            <a:endParaRPr lang="en-US" dirty="0"/>
          </a:p>
          <a:p>
            <a:pPr lvl="0"/>
            <a:r>
              <a:rPr lang="en-US" dirty="0"/>
              <a:t>- Moving which are trying to harm us – </a:t>
            </a:r>
            <a:r>
              <a:rPr lang="en-US" b="1" dirty="0"/>
              <a:t>adversaries,</a:t>
            </a:r>
            <a:endParaRPr lang="en-US" dirty="0"/>
          </a:p>
          <a:p>
            <a:r>
              <a:rPr lang="en-US" b="1" dirty="0"/>
              <a:t>Note: </a:t>
            </a:r>
            <a:r>
              <a:rPr lang="en-US" dirty="0"/>
              <a:t> The work does not consider “adversaries”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E9A2C9A4-850C-455A-AC15-0C030ED90AD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5" name="Header Placeholder 5">
            <a:extLst>
              <a:ext uri="{FF2B5EF4-FFF2-40B4-BE49-F238E27FC236}">
                <a16:creationId xmlns:a16="http://schemas.microsoft.com/office/drawing/2014/main" id="{DCB096AB-0C05-424F-9FB6-6B503A4791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6" name="Footer Placeholder 9">
            <a:extLst>
              <a:ext uri="{FF2B5EF4-FFF2-40B4-BE49-F238E27FC236}">
                <a16:creationId xmlns:a16="http://schemas.microsoft.com/office/drawing/2014/main" id="{C7C6549C-4CF3-4141-AC99-5812B42F2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420AF2AE-8138-45F8-8509-C8668624A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664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9E365780-BAAC-450A-9A17-EB1DE2F21A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45D95DC4-CFAB-4876-A609-09B9F6C04BA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DF1B2C0-73BE-4C74-A634-F7EDDCA1CA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A430BAC-3D0A-4169-A251-600784CEC2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2B7FC5A8-0681-41A4-BA85-B79612DD02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2050208-859C-4CD8-958F-D4989919B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FF68CAF6-22F0-4D6B-B56D-621F5FB43E2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25A5B8BF-7799-4870-868B-4E1FF5E47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4696FCE-D08C-446C-99C4-2CBDE875B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020ECE4-BBA0-4317-BE4F-06B662919E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87427C7-C107-4BD9-922F-6B45621F6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3B2DFE6-8DA5-401F-98E4-737AE32D0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E84A675-4D0F-4D9E-932C-DB8787AE610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BA8F90BE-F528-4BA4-B8DC-02E0902FD7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0A6DF9AC-53FB-483F-B354-4D9B7719A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2E7D57EE-CE17-41BB-99F8-6C8FC0B1C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308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76310CF6-5C3A-4CDF-85C9-A331246465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98CF5D4-5E4A-4154-8868-CA0D6F0F4E7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F28DBA1E-339B-40E1-8E0B-361495544F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E1372BED-C75A-4537-8A9E-B55F803D90D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46962A60-29A7-47BC-BEA6-B62DEC025B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E52503C2-A02D-4FA7-A7CE-C38FB9696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4A7A6B8-E278-456B-9CBE-D00C5087EA2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0A174867-10D9-4609-AD8B-7545EDD0F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D0488B9-3290-4662-AF4E-5211FE122EF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A78A41B-6AE1-4542-83C2-9ABEA9F3E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AC2364B3-4DDC-4307-8B37-7971D707F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C0786CC7-90F0-46B5-B795-A1E2076AAD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39F1DBE-9DDA-42E1-93F1-DCC28B915B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35D52CB3-64D0-4BED-93A8-BEA9B69289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3038B11-6AA1-44D8-A2D9-FD7E63972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6429F816-4E5C-486A-AA0C-9EF0561A4D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40883D7-C62F-485D-B1D3-5527DB0089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0" name="Header Placeholder 5">
            <a:extLst>
              <a:ext uri="{FF2B5EF4-FFF2-40B4-BE49-F238E27FC236}">
                <a16:creationId xmlns:a16="http://schemas.microsoft.com/office/drawing/2014/main" id="{038829DD-ED8A-42F9-8CD0-FAE6A86DCD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1" name="Footer Placeholder 9">
            <a:extLst>
              <a:ext uri="{FF2B5EF4-FFF2-40B4-BE49-F238E27FC236}">
                <a16:creationId xmlns:a16="http://schemas.microsoft.com/office/drawing/2014/main" id="{0B0B1B3D-F415-4C73-BF87-83F86A0360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FD57DA-A108-4791-A3BC-57F6890A15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r>
              <a:rPr lang="en-US" dirty="0"/>
              <a:t>Calculates Collision Cases,</a:t>
            </a:r>
          </a:p>
          <a:p>
            <a:r>
              <a:rPr lang="en-US" dirty="0"/>
              <a:t>Creates solution</a:t>
            </a:r>
          </a:p>
          <a:p>
            <a:r>
              <a:rPr lang="en-US" dirty="0"/>
              <a:t>Send Directives and Monitor directives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0288F6E9-C23D-48AE-AD5E-F70C5184C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91D35352-2EAB-4965-A3CE-749269B0F80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70B793-CA16-4739-89FF-2F8FD1E73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02214D1B-635B-4725-A190-73E80BE8E4A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33F68F55-9F16-4AB8-9848-06E6FCAE0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DB9DFE78-0E03-4D8E-94E1-8F0FC7DF7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8790AAA-C2EF-4368-A192-9A106F31B5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6C308EB3-8C40-4231-AC19-9880AB350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6E349A9A-2134-48FF-92E8-CE3DC16A8C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7BAD8F72-45FD-44FA-B8B7-41192E8E3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4AE8C04C-9362-4FF9-8876-D3C24D8D5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2231502-30AF-428D-A77D-71D32474BEA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EE1B65DE-026D-403C-8CEE-9C2A668E32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A328E269-8E69-4170-8AC7-7779701FCF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EA03BE32-9C4E-4F2F-8276-1ACC872B6E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281FFA66-365C-498F-81B4-B3E8B7998A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EAB3A86-2701-49A2-B499-9812584AC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Speech: </a:t>
            </a:r>
            <a:endParaRPr lang="en-US" dirty="0"/>
          </a:p>
          <a:p>
            <a:pPr lvl="0"/>
            <a:r>
              <a:rPr lang="en-US" dirty="0"/>
              <a:t>UAS usually flies mission given as a ordered list of </a:t>
            </a:r>
          </a:p>
          <a:p>
            <a:pPr lvl="0"/>
            <a:r>
              <a:rPr lang="en-US" dirty="0"/>
              <a:t>“Waypoints”, the UAS is solving:</a:t>
            </a:r>
          </a:p>
          <a:p>
            <a:pPr lvl="0"/>
            <a:r>
              <a:rPr lang="en-US" dirty="0"/>
              <a:t>1. </a:t>
            </a:r>
            <a:r>
              <a:rPr lang="en-US" b="1" dirty="0"/>
              <a:t>Reactive Avoidance</a:t>
            </a:r>
            <a:r>
              <a:rPr lang="en-US" dirty="0"/>
              <a:t> – immediate threat,	</a:t>
            </a:r>
          </a:p>
          <a:p>
            <a:pPr lvl="0"/>
            <a:r>
              <a:rPr lang="en-US" dirty="0"/>
              <a:t>2. </a:t>
            </a:r>
            <a:r>
              <a:rPr lang="en-US" b="1" dirty="0"/>
              <a:t>Preemptive Avoidance</a:t>
            </a:r>
            <a:r>
              <a:rPr lang="en-US" dirty="0"/>
              <a:t> – long term threat,</a:t>
            </a:r>
          </a:p>
          <a:p>
            <a:pPr lvl="0"/>
            <a:r>
              <a:rPr lang="en-US" dirty="0"/>
              <a:t>The example shows implementation of both,</a:t>
            </a:r>
          </a:p>
          <a:p>
            <a:pPr lvl="0"/>
            <a:r>
              <a:rPr lang="en-US" dirty="0"/>
              <a:t>1. UAS spots an obstacle</a:t>
            </a:r>
          </a:p>
          <a:p>
            <a:pPr lvl="0"/>
            <a:r>
              <a:rPr lang="en-US" dirty="0"/>
              <a:t>2. The long term path is not feasible</a:t>
            </a:r>
          </a:p>
          <a:p>
            <a:pPr lvl="0"/>
            <a:r>
              <a:rPr lang="en-US" dirty="0"/>
              <a:t>3. Newly calculated avoidance path is taken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DE780CD-FB92-461E-AA7A-D4231185BC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9" name="Header Placeholder 5">
            <a:extLst>
              <a:ext uri="{FF2B5EF4-FFF2-40B4-BE49-F238E27FC236}">
                <a16:creationId xmlns:a16="http://schemas.microsoft.com/office/drawing/2014/main" id="{672F2B34-3A46-4E59-92C2-975DFA8A5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2DEA267-F88A-4D41-8300-3AD7B3AF7F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CBA5A861-BEB9-4CB6-9413-546D340A7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CADAAD4F-109E-4A06-892A-8A0F7A1A9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15D201D-BB2C-477F-944E-BA260F5872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8731DFF-7127-44E8-AA76-DB63CD0F8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5A696B80-136C-4F3A-BB7E-E4D1C38412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D785B356-0CF9-4CF7-9698-41A173F10F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11" name="Slide Image Placeholder 10">
            <a:extLst>
              <a:ext uri="{FF2B5EF4-FFF2-40B4-BE49-F238E27FC236}">
                <a16:creationId xmlns:a16="http://schemas.microsoft.com/office/drawing/2014/main" id="{67783403-711F-4E47-8052-2D68287B3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5E9CF3C8-98BE-46DC-98CB-A37BDDC77BC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13" name="Header Placeholder 5">
            <a:extLst>
              <a:ext uri="{FF2B5EF4-FFF2-40B4-BE49-F238E27FC236}">
                <a16:creationId xmlns:a16="http://schemas.microsoft.com/office/drawing/2014/main" id="{8F31F9AB-FCF3-4509-A95B-06A8F9C11A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BC4606B4-3FA4-4B1C-80DA-60CC32B936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92E03537-1915-4182-AA19-293C7B41C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A10E331-FCAF-4522-B382-F553F0B487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158885-3CA6-412F-B8CD-24E51F5890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4652E5-2A9A-4F88-88A5-B15B6007644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F741A2F1-84B6-4604-B9FF-F29E0B5976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3BEB7865-3FE5-455B-ADC3-517E63C603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72D731F1-1632-4E38-A782-853B76C5BD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7906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5A74E14-3262-4E87-86AF-2FE82EAF51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480FCED-D7E6-4414-9FB6-F3E87F1F7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AD0A1C6-7124-456B-85FF-4E5ABA37606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9FAA98D-CA24-4E87-9576-D7CD918FD9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64FB14B5-B0F2-462A-A3C1-453CB8D2C2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2A66822-7721-4F21-BF3F-0FF1FB210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56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3.png"/><Relationship Id="rId4" Type="http://schemas.openxmlformats.org/officeDocument/2006/relationships/image" Target="../media/image7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jpeg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47888" y="6021070"/>
            <a:ext cx="6729406" cy="254000"/>
          </a:xfrm>
        </p:spPr>
        <p:txBody>
          <a:bodyPr/>
          <a:lstStyle/>
          <a:p>
            <a:r>
              <a:rPr lang="en-US" dirty="0"/>
              <a:t>Defense Presentation of Doctoral Thesis in Applied Mathematics 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6226" y="6020120"/>
            <a:ext cx="1862138" cy="249237"/>
          </a:xfrm>
        </p:spPr>
        <p:txBody>
          <a:bodyPr/>
          <a:lstStyle/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66701" y="5759772"/>
            <a:ext cx="1862138" cy="249237"/>
          </a:xfrm>
        </p:spPr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147887" y="5610225"/>
            <a:ext cx="6729407" cy="372148"/>
          </a:xfrm>
        </p:spPr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1B869-4164-418E-9AB2-4165CC61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A4678-F690-496A-AFF8-1D017F62DF7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9F17B-BF94-488D-9241-F40A73EA9F9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185C7F-A17A-44A0-9701-883B3D50FA9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/>
              <a:t>Proposed framework:</a:t>
            </a:r>
          </a:p>
          <a:p>
            <a:r>
              <a:rPr lang="en-US"/>
              <a:t>Overview</a:t>
            </a:r>
          </a:p>
          <a:p>
            <a:r>
              <a:rPr lang="en-US"/>
              <a:t>Avoidance Run </a:t>
            </a:r>
          </a:p>
          <a:p>
            <a:r>
              <a:rPr lang="en-US"/>
              <a:t>UTM Implementation</a:t>
            </a:r>
          </a:p>
          <a:p>
            <a:r>
              <a:rPr lang="en-US"/>
              <a:t>Rule Engin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i="1" u="sng"/>
              <a:t>Simulations:</a:t>
            </a:r>
          </a:p>
          <a:p>
            <a:r>
              <a:rPr lang="en-US"/>
              <a:t>Test Plan</a:t>
            </a:r>
          </a:p>
          <a:p>
            <a:r>
              <a:rPr lang="en-US"/>
              <a:t>Obstacle avoidance</a:t>
            </a:r>
          </a:p>
          <a:p>
            <a:r>
              <a:rPr lang="en-US"/>
              <a:t>Weather avoidance</a:t>
            </a:r>
          </a:p>
          <a:p>
            <a:r>
              <a:rPr lang="en-US"/>
              <a:t>Rules of the Air</a:t>
            </a:r>
          </a:p>
          <a:p>
            <a:r>
              <a:rPr lang="en-US"/>
              <a:t>Cooperative vs. Noncooperative</a:t>
            </a:r>
          </a:p>
          <a:p>
            <a:endParaRPr lang="en-US"/>
          </a:p>
          <a:p>
            <a:pPr marL="0" indent="0">
              <a:buNone/>
            </a:pPr>
            <a:r>
              <a:rPr lang="en-US" i="1" u="sng"/>
              <a:t>Conclusion</a:t>
            </a:r>
            <a:endParaRPr lang="en-US" i="1" u="sng" dirty="0"/>
          </a:p>
        </p:txBody>
      </p:sp>
    </p:spTree>
    <p:extLst>
      <p:ext uri="{BB962C8B-B14F-4D97-AF65-F5344CB8AC3E}">
        <p14:creationId xmlns:p14="http://schemas.microsoft.com/office/powerpoint/2010/main" val="21528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Intrud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315041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sz="2400" dirty="0"/>
            </a:br>
            <a:br>
              <a:rPr lang="en-US" sz="2400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941AA-F2D8-4916-89FC-0EEAF5434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FAAE-642C-4D06-8514-B28BA95143F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backstepping algorithm. In American Control Conference, 2000. Proceedings of the 2000, volume 6, pages 4102-4107. IEEE, 2000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ECE84-A581-466E-BEC1-D827567DA9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CC223E-3761-42F3-A04E-D24C1059D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9C41CD-1562-4156-8ADA-D716D3F32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E865-697E-483C-9C15-7B0F9C91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71C46-A2F7-4EEC-96A2-C7CE5B0252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Bondarev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EF836-2307-442D-8E73-072C3E1A243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367C39-2649-4866-9293-9E7C74B61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294" y="474922"/>
            <a:ext cx="2512347" cy="22239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C4A3CC-DA7E-4A91-B5BB-1A359C1A7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90E429-C590-448C-9674-579D139EBE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4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39-478F-4F1D-8081-982054BA2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773B66-802E-4B1A-B711-6AD7BC6B4E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</a:t>
            </a:r>
            <a:r>
              <a:rPr lang="en-US" sz="1600" dirty="0" err="1"/>
              <a:t>Gardi</a:t>
            </a:r>
            <a:r>
              <a:rPr lang="en-US" sz="1600" dirty="0"/>
              <a:t>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F47-9ECC-4CB2-B249-E3EA1DF3BE4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9824B7-70A2-4D2B-BEC0-59CE331B2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090E9-97C3-476C-90A4-304C393BC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3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C2FE1-8927-4C44-8AF8-C760FF024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7DF0B-6BCE-44B7-8BA3-A16BC12C7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LaValle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Lindemann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1B32E-F3DD-4B8B-8AF3-9758821AED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45C80-7C86-498A-9202-3DFE4BC11A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3D214C-8692-4B97-AD3F-B8A5CF9421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1065803"/>
            <a:ext cx="9143999" cy="498475"/>
          </a:xfrm>
        </p:spPr>
        <p:txBody>
          <a:bodyPr/>
          <a:lstStyle/>
          <a:p>
            <a:r>
              <a:rPr lang="en-US" sz="4000" dirty="0">
                <a:latin typeface="Arial monospaced for SAP" panose="020B0609020202030204" pitchFamily="49" charset="0"/>
              </a:rPr>
              <a:t>Proposed Framework: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Overview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voidance Ru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UTM Implementation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ule Eng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6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9669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Ra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4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 (7.1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5113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D481-D438-4BC0-9F00-D2FAB1ED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463B3-3C3C-4A37-9A17-EED5F498A21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5" name="Picture 2" descr="Image result for quadcopter icon free">
            <a:extLst>
              <a:ext uri="{FF2B5EF4-FFF2-40B4-BE49-F238E27FC236}">
                <a16:creationId xmlns:a16="http://schemas.microsoft.com/office/drawing/2014/main" id="{AF6EC7A7-805C-4ED9-9E92-325D7991F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758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3E9DE6E-1A0D-4DC0-A599-23DE64AC0A83}"/>
              </a:ext>
            </a:extLst>
          </p:cNvPr>
          <p:cNvSpPr/>
          <p:nvPr/>
        </p:nvSpPr>
        <p:spPr>
          <a:xfrm>
            <a:off x="-1479177" y="2566476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7" name="Picture 4" descr="Image result for coast icon">
            <a:extLst>
              <a:ext uri="{FF2B5EF4-FFF2-40B4-BE49-F238E27FC236}">
                <a16:creationId xmlns:a16="http://schemas.microsoft.com/office/drawing/2014/main" id="{2864BD36-5988-47CB-A658-67CB7B01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376A53-A121-4ACB-8532-54193040BB12}"/>
              </a:ext>
            </a:extLst>
          </p:cNvPr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stac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38E10-83D0-446A-B440-01F9A4F368ED}"/>
              </a:ext>
            </a:extLst>
          </p:cNvPr>
          <p:cNvGrpSpPr/>
          <p:nvPr/>
        </p:nvGrpSpPr>
        <p:grpSpPr>
          <a:xfrm>
            <a:off x="4379095" y="717195"/>
            <a:ext cx="4863354" cy="2589050"/>
            <a:chOff x="3871071" y="568844"/>
            <a:chExt cx="4863354" cy="2589050"/>
          </a:xfrm>
        </p:grpSpPr>
        <p:pic>
          <p:nvPicPr>
            <p:cNvPr id="9" name="Picture 12" descr="Image result for bird icon">
              <a:extLst>
                <a:ext uri="{FF2B5EF4-FFF2-40B4-BE49-F238E27FC236}">
                  <a16:creationId xmlns:a16="http://schemas.microsoft.com/office/drawing/2014/main" id="{BD580138-4233-4A89-996B-7F24CFF2E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9966" y="568844"/>
              <a:ext cx="2589050" cy="2589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33DEC5A-3ED9-47DE-AB69-CDFF1460318A}"/>
                </a:ext>
              </a:extLst>
            </p:cNvPr>
            <p:cNvSpPr/>
            <p:nvPr/>
          </p:nvSpPr>
          <p:spPr>
            <a:xfrm>
              <a:off x="3871071" y="2469194"/>
              <a:ext cx="48633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3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chemeClr val="tx2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Adversary</a:t>
              </a:r>
              <a:endParaRPr lang="en-US" sz="2800" b="1" cap="none" spc="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</p:grpSp>
      <p:pic>
        <p:nvPicPr>
          <p:cNvPr id="11" name="Picture 16" descr="Image result for plane icon">
            <a:extLst>
              <a:ext uri="{FF2B5EF4-FFF2-40B4-BE49-F238E27FC236}">
                <a16:creationId xmlns:a16="http://schemas.microsoft.com/office/drawing/2014/main" id="{B671405B-A3D0-42F6-849E-55CEB75C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3" y="3202320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BA41A0-EF31-479F-98B8-552FCDBFBCD0}"/>
              </a:ext>
            </a:extLst>
          </p:cNvPr>
          <p:cNvSpPr/>
          <p:nvPr/>
        </p:nvSpPr>
        <p:spPr>
          <a:xfrm>
            <a:off x="-10874" y="5137420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28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67763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ft Arrow 8">
            <a:extLst>
              <a:ext uri="{FF2B5EF4-FFF2-40B4-BE49-F238E27FC236}">
                <a16:creationId xmlns:a16="http://schemas.microsoft.com/office/drawing/2014/main" id="{D147CFA8-A8A3-4C14-B981-7EAA6F6B2EA5}"/>
              </a:ext>
            </a:extLst>
          </p:cNvPr>
          <p:cNvSpPr/>
          <p:nvPr/>
        </p:nvSpPr>
        <p:spPr>
          <a:xfrm rot="10800000">
            <a:off x="4936141" y="1949502"/>
            <a:ext cx="2281954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D3CB3-9864-40D0-B6AE-BD8593BB8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br>
              <a:rPr lang="en-US" sz="3600" dirty="0"/>
            </a:br>
            <a:endParaRPr lang="en-US" dirty="0"/>
          </a:p>
        </p:txBody>
      </p:sp>
      <p:pic>
        <p:nvPicPr>
          <p:cNvPr id="7" name="Picture 2" descr="Image result for quadcopter icon free">
            <a:extLst>
              <a:ext uri="{FF2B5EF4-FFF2-40B4-BE49-F238E27FC236}">
                <a16:creationId xmlns:a16="http://schemas.microsoft.com/office/drawing/2014/main" id="{104D2ED6-F4DE-4535-9C60-4813DEBF8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5914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/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Rounded Rectangle 18">
                <a:extLst>
                  <a:ext uri="{FF2B5EF4-FFF2-40B4-BE49-F238E27FC236}">
                    <a16:creationId xmlns:a16="http://schemas.microsoft.com/office/drawing/2014/main" id="{B8E7AFCB-8DB7-4959-B26E-AC60AC3E30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722603"/>
                <a:ext cx="1755972" cy="9144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/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Rounded Rectangle 19">
                <a:extLst>
                  <a:ext uri="{FF2B5EF4-FFF2-40B4-BE49-F238E27FC236}">
                    <a16:creationId xmlns:a16="http://schemas.microsoft.com/office/drawing/2014/main" id="{D76986B8-0643-4498-A2B7-B6E7C9EB5F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5314118"/>
                <a:ext cx="1755972" cy="9144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/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2B6CB181-5AD6-4C0E-8146-72A1E9F4FEA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5314118"/>
                <a:ext cx="1755972" cy="9144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Down Arrow 6">
            <a:extLst>
              <a:ext uri="{FF2B5EF4-FFF2-40B4-BE49-F238E27FC236}">
                <a16:creationId xmlns:a16="http://schemas.microsoft.com/office/drawing/2014/main" id="{F60CC83A-A03B-465D-965D-8C8D5C4FD0B5}"/>
              </a:ext>
            </a:extLst>
          </p:cNvPr>
          <p:cNvSpPr/>
          <p:nvPr/>
        </p:nvSpPr>
        <p:spPr>
          <a:xfrm>
            <a:off x="7930194" y="2671400"/>
            <a:ext cx="339865" cy="2642718"/>
          </a:xfrm>
          <a:prstGeom prst="down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Arrow 8">
            <a:extLst>
              <a:ext uri="{FF2B5EF4-FFF2-40B4-BE49-F238E27FC236}">
                <a16:creationId xmlns:a16="http://schemas.microsoft.com/office/drawing/2014/main" id="{EB719023-1007-445D-AB7D-1E3F44794152}"/>
              </a:ext>
            </a:extLst>
          </p:cNvPr>
          <p:cNvSpPr/>
          <p:nvPr/>
        </p:nvSpPr>
        <p:spPr>
          <a:xfrm>
            <a:off x="2371724" y="5558233"/>
            <a:ext cx="4676775" cy="426170"/>
          </a:xfrm>
          <a:prstGeom prst="leftArrow">
            <a:avLst/>
          </a:prstGeom>
          <a:solidFill>
            <a:srgbClr val="00B05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3" name="Pie 10">
            <a:extLst>
              <a:ext uri="{FF2B5EF4-FFF2-40B4-BE49-F238E27FC236}">
                <a16:creationId xmlns:a16="http://schemas.microsoft.com/office/drawing/2014/main" id="{A7DA85AC-931B-4793-85EE-C7117C831D74}"/>
              </a:ext>
            </a:extLst>
          </p:cNvPr>
          <p:cNvSpPr/>
          <p:nvPr/>
        </p:nvSpPr>
        <p:spPr>
          <a:xfrm>
            <a:off x="-1157836" y="12735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5" name="Curved Up Arrow 15">
            <a:extLst>
              <a:ext uri="{FF2B5EF4-FFF2-40B4-BE49-F238E27FC236}">
                <a16:creationId xmlns:a16="http://schemas.microsoft.com/office/drawing/2014/main" id="{0802F6AB-3C8A-469B-A189-DEA17CDB1423}"/>
              </a:ext>
            </a:extLst>
          </p:cNvPr>
          <p:cNvSpPr/>
          <p:nvPr/>
        </p:nvSpPr>
        <p:spPr>
          <a:xfrm>
            <a:off x="1108609" y="2637003"/>
            <a:ext cx="6929479" cy="128525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Calculated Avoidance</a:t>
            </a:r>
            <a:r>
              <a:rPr kumimoji="0" lang="en-US" sz="1800" b="1" i="1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</a:p>
        </p:txBody>
      </p:sp>
      <p:sp>
        <p:nvSpPr>
          <p:cNvPr id="16" name="Rounded Rectangular Callout 22">
            <a:extLst>
              <a:ext uri="{FF2B5EF4-FFF2-40B4-BE49-F238E27FC236}">
                <a16:creationId xmlns:a16="http://schemas.microsoft.com/office/drawing/2014/main" id="{3958F5D5-519C-46B8-B899-5BBBD3F1C25F}"/>
              </a:ext>
            </a:extLst>
          </p:cNvPr>
          <p:cNvSpPr/>
          <p:nvPr/>
        </p:nvSpPr>
        <p:spPr>
          <a:xfrm>
            <a:off x="619530" y="41316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0" name="Left Arrow 8">
            <a:extLst>
              <a:ext uri="{FF2B5EF4-FFF2-40B4-BE49-F238E27FC236}">
                <a16:creationId xmlns:a16="http://schemas.microsoft.com/office/drawing/2014/main" id="{02C42791-A9FA-43D6-A5E1-AB00B50FE1FA}"/>
              </a:ext>
            </a:extLst>
          </p:cNvPr>
          <p:cNvSpPr/>
          <p:nvPr/>
        </p:nvSpPr>
        <p:spPr>
          <a:xfrm rot="10800000">
            <a:off x="4955191" y="1978077"/>
            <a:ext cx="2204911" cy="426170"/>
          </a:xfrm>
          <a:prstGeom prst="leftArrow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7-Point Star 11">
            <a:extLst>
              <a:ext uri="{FF2B5EF4-FFF2-40B4-BE49-F238E27FC236}">
                <a16:creationId xmlns:a16="http://schemas.microsoft.com/office/drawing/2014/main" id="{A39A05A8-233C-469F-ADA1-054B74DAD78D}"/>
              </a:ext>
            </a:extLst>
          </p:cNvPr>
          <p:cNvSpPr/>
          <p:nvPr/>
        </p:nvSpPr>
        <p:spPr>
          <a:xfrm>
            <a:off x="4084822" y="1489963"/>
            <a:ext cx="1982548" cy="1181437"/>
          </a:xfrm>
          <a:prstGeom prst="star7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21" name="Multiplication Sign 20">
            <a:extLst>
              <a:ext uri="{FF2B5EF4-FFF2-40B4-BE49-F238E27FC236}">
                <a16:creationId xmlns:a16="http://schemas.microsoft.com/office/drawing/2014/main" id="{BE5C1A12-91C9-4B1D-8617-CA3D62D0A4E7}"/>
              </a:ext>
            </a:extLst>
          </p:cNvPr>
          <p:cNvSpPr/>
          <p:nvPr/>
        </p:nvSpPr>
        <p:spPr>
          <a:xfrm>
            <a:off x="6050567" y="1857618"/>
            <a:ext cx="797402" cy="663007"/>
          </a:xfrm>
          <a:prstGeom prst="mathMultiply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Rounded Rectangular Callout 22">
            <a:extLst>
              <a:ext uri="{FF2B5EF4-FFF2-40B4-BE49-F238E27FC236}">
                <a16:creationId xmlns:a16="http://schemas.microsoft.com/office/drawing/2014/main" id="{50DAB216-E4CA-4794-A597-3E63A1EDDB81}"/>
              </a:ext>
            </a:extLst>
          </p:cNvPr>
          <p:cNvSpPr/>
          <p:nvPr/>
        </p:nvSpPr>
        <p:spPr>
          <a:xfrm>
            <a:off x="4406113" y="1527366"/>
            <a:ext cx="2539243" cy="952187"/>
          </a:xfrm>
          <a:prstGeom prst="wedgeRoundRectCallout">
            <a:avLst>
              <a:gd name="adj1" fmla="val 51462"/>
              <a:gd name="adj2" fmla="val 129663"/>
              <a:gd name="adj3" fmla="val 16667"/>
            </a:avLst>
          </a:prstGeom>
          <a:solidFill>
            <a:srgbClr val="00B050"/>
          </a:solidFill>
          <a:ln>
            <a:solidFill>
              <a:srgbClr val="008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 avoidance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BD14D3-2885-428A-A837-FB4C80A8C637}"/>
              </a:ext>
            </a:extLst>
          </p:cNvPr>
          <p:cNvSpPr/>
          <p:nvPr/>
        </p:nvSpPr>
        <p:spPr>
          <a:xfrm>
            <a:off x="373536" y="32319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887E2EB-79DE-4EE5-A035-A7E0C96648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6" grpId="0" animBg="1"/>
      <p:bldP spid="16" grpId="1" animBg="1"/>
      <p:bldP spid="20" grpId="0" animBg="1"/>
      <p:bldP spid="20" grpId="1" animBg="1"/>
      <p:bldP spid="14" grpId="0" animBg="1"/>
      <p:bldP spid="14" grpId="1" animBg="1"/>
      <p:bldP spid="21" grpId="0" animBg="1"/>
      <p:bldP spid="21" grpId="1" animBg="1"/>
      <p:bldP spid="23" grpId="0" animBg="1"/>
      <p:bldP spid="17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944</TotalTime>
  <Words>7212</Words>
  <Application>Microsoft Office PowerPoint</Application>
  <PresentationFormat>On-screen Show (4:3)</PresentationFormat>
  <Paragraphs>1722</Paragraphs>
  <Slides>95</Slides>
  <Notes>95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09" baseType="lpstr">
      <vt:lpstr>Arial</vt:lpstr>
      <vt:lpstr>Arial monospaced for SAP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 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 (7.1)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37</cp:revision>
  <cp:lastPrinted>2015-07-29T21:30:37Z</cp:lastPrinted>
  <dcterms:created xsi:type="dcterms:W3CDTF">2017-09-21T08:49:16Z</dcterms:created>
  <dcterms:modified xsi:type="dcterms:W3CDTF">2019-07-07T09:01:5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